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92</c:v>
                </c:pt>
                <c:pt idx="1">
                  <c:v>6364</c:v>
                </c:pt>
                <c:pt idx="2">
                  <c:v>6215</c:v>
                </c:pt>
                <c:pt idx="3">
                  <c:v>6312</c:v>
                </c:pt>
                <c:pt idx="4">
                  <c:v>6379</c:v>
                </c:pt>
                <c:pt idx="5">
                  <c:v>7053</c:v>
                </c:pt>
                <c:pt idx="6">
                  <c:v>6698</c:v>
                </c:pt>
                <c:pt idx="7">
                  <c:v>6224</c:v>
                </c:pt>
                <c:pt idx="8">
                  <c:v>5906</c:v>
                </c:pt>
                <c:pt idx="9">
                  <c:v>5267</c:v>
                </c:pt>
                <c:pt idx="10">
                  <c:v>5221</c:v>
                </c:pt>
                <c:pt idx="11">
                  <c:v>5515</c:v>
                </c:pt>
                <c:pt idx="12">
                  <c:v>5209</c:v>
                </c:pt>
                <c:pt idx="13">
                  <c:v>4907</c:v>
                </c:pt>
                <c:pt idx="14">
                  <c:v>4650</c:v>
                </c:pt>
                <c:pt idx="15">
                  <c:v>4403</c:v>
                </c:pt>
                <c:pt idx="16">
                  <c:v>4008</c:v>
                </c:pt>
                <c:pt idx="17">
                  <c:v>4016</c:v>
                </c:pt>
                <c:pt idx="18">
                  <c:v>4288</c:v>
                </c:pt>
                <c:pt idx="19">
                  <c:v>4121</c:v>
                </c:pt>
                <c:pt idx="20">
                  <c:v>3961</c:v>
                </c:pt>
                <c:pt idx="21">
                  <c:v>3724</c:v>
                </c:pt>
                <c:pt idx="22">
                  <c:v>3510</c:v>
                </c:pt>
                <c:pt idx="23">
                  <c:v>3164</c:v>
                </c:pt>
                <c:pt idx="24">
                  <c:v>3157</c:v>
                </c:pt>
                <c:pt idx="25">
                  <c:v>3308</c:v>
                </c:pt>
                <c:pt idx="26">
                  <c:v>3138</c:v>
                </c:pt>
                <c:pt idx="27">
                  <c:v>2989</c:v>
                </c:pt>
                <c:pt idx="28">
                  <c:v>2823</c:v>
                </c:pt>
                <c:pt idx="29">
                  <c:v>2664</c:v>
                </c:pt>
                <c:pt idx="30">
                  <c:v>2453</c:v>
                </c:pt>
                <c:pt idx="31">
                  <c:v>2479</c:v>
                </c:pt>
                <c:pt idx="32">
                  <c:v>2669</c:v>
                </c:pt>
                <c:pt idx="33">
                  <c:v>2519</c:v>
                </c:pt>
                <c:pt idx="34">
                  <c:v>2345</c:v>
                </c:pt>
                <c:pt idx="35">
                  <c:v>2211</c:v>
                </c:pt>
                <c:pt idx="36">
                  <c:v>2117</c:v>
                </c:pt>
                <c:pt idx="37">
                  <c:v>1879</c:v>
                </c:pt>
                <c:pt idx="38">
                  <c:v>1860</c:v>
                </c:pt>
                <c:pt idx="39">
                  <c:v>1976</c:v>
                </c:pt>
                <c:pt idx="40">
                  <c:v>1819</c:v>
                </c:pt>
                <c:pt idx="41">
                  <c:v>1707</c:v>
                </c:pt>
                <c:pt idx="42">
                  <c:v>1609</c:v>
                </c:pt>
                <c:pt idx="43">
                  <c:v>1520</c:v>
                </c:pt>
                <c:pt idx="44">
                  <c:v>1323</c:v>
                </c:pt>
                <c:pt idx="45">
                  <c:v>1309</c:v>
                </c:pt>
                <c:pt idx="46">
                  <c:v>1388</c:v>
                </c:pt>
                <c:pt idx="47">
                  <c:v>1252</c:v>
                </c:pt>
                <c:pt idx="48">
                  <c:v>1146</c:v>
                </c:pt>
                <c:pt idx="49">
                  <c:v>1055</c:v>
                </c:pt>
                <c:pt idx="50">
                  <c:v>1012</c:v>
                </c:pt>
                <c:pt idx="51">
                  <c:v>863</c:v>
                </c:pt>
                <c:pt idx="52">
                  <c:v>849</c:v>
                </c:pt>
                <c:pt idx="53">
                  <c:v>877</c:v>
                </c:pt>
                <c:pt idx="54">
                  <c:v>783</c:v>
                </c:pt>
                <c:pt idx="55">
                  <c:v>761</c:v>
                </c:pt>
                <c:pt idx="56">
                  <c:v>689</c:v>
                </c:pt>
                <c:pt idx="57">
                  <c:v>63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58</c:v>
                </c:pt>
                <c:pt idx="1">
                  <c:v>9458</c:v>
                </c:pt>
                <c:pt idx="2">
                  <c:v>9458</c:v>
                </c:pt>
                <c:pt idx="3">
                  <c:v>9458</c:v>
                </c:pt>
                <c:pt idx="4">
                  <c:v>9458</c:v>
                </c:pt>
                <c:pt idx="5">
                  <c:v>9458</c:v>
                </c:pt>
                <c:pt idx="6">
                  <c:v>9458</c:v>
                </c:pt>
                <c:pt idx="7">
                  <c:v>9458</c:v>
                </c:pt>
                <c:pt idx="8">
                  <c:v>9458</c:v>
                </c:pt>
                <c:pt idx="9">
                  <c:v>9458</c:v>
                </c:pt>
                <c:pt idx="10">
                  <c:v>9458</c:v>
                </c:pt>
                <c:pt idx="11">
                  <c:v>9458</c:v>
                </c:pt>
                <c:pt idx="12">
                  <c:v>9458</c:v>
                </c:pt>
                <c:pt idx="13">
                  <c:v>9458</c:v>
                </c:pt>
                <c:pt idx="14">
                  <c:v>9458</c:v>
                </c:pt>
                <c:pt idx="15">
                  <c:v>9458</c:v>
                </c:pt>
                <c:pt idx="16">
                  <c:v>9458</c:v>
                </c:pt>
                <c:pt idx="17">
                  <c:v>9458</c:v>
                </c:pt>
                <c:pt idx="18">
                  <c:v>9458</c:v>
                </c:pt>
                <c:pt idx="19">
                  <c:v>9458</c:v>
                </c:pt>
                <c:pt idx="20">
                  <c:v>9458</c:v>
                </c:pt>
                <c:pt idx="21">
                  <c:v>9458</c:v>
                </c:pt>
                <c:pt idx="22">
                  <c:v>9458</c:v>
                </c:pt>
                <c:pt idx="23">
                  <c:v>9458</c:v>
                </c:pt>
                <c:pt idx="24">
                  <c:v>9458</c:v>
                </c:pt>
                <c:pt idx="25">
                  <c:v>9458</c:v>
                </c:pt>
                <c:pt idx="26">
                  <c:v>9458</c:v>
                </c:pt>
                <c:pt idx="27">
                  <c:v>9458</c:v>
                </c:pt>
                <c:pt idx="28">
                  <c:v>9458</c:v>
                </c:pt>
                <c:pt idx="29">
                  <c:v>9458</c:v>
                </c:pt>
                <c:pt idx="30">
                  <c:v>9458</c:v>
                </c:pt>
                <c:pt idx="31">
                  <c:v>9458</c:v>
                </c:pt>
                <c:pt idx="32">
                  <c:v>9458</c:v>
                </c:pt>
                <c:pt idx="33">
                  <c:v>9458</c:v>
                </c:pt>
                <c:pt idx="34">
                  <c:v>9458</c:v>
                </c:pt>
                <c:pt idx="35">
                  <c:v>9458</c:v>
                </c:pt>
                <c:pt idx="36">
                  <c:v>9458</c:v>
                </c:pt>
                <c:pt idx="37">
                  <c:v>9458</c:v>
                </c:pt>
                <c:pt idx="38">
                  <c:v>9458</c:v>
                </c:pt>
                <c:pt idx="39">
                  <c:v>9458</c:v>
                </c:pt>
                <c:pt idx="40">
                  <c:v>9458</c:v>
                </c:pt>
                <c:pt idx="41">
                  <c:v>9458</c:v>
                </c:pt>
                <c:pt idx="42">
                  <c:v>9458</c:v>
                </c:pt>
                <c:pt idx="43">
                  <c:v>9458</c:v>
                </c:pt>
                <c:pt idx="44">
                  <c:v>9458</c:v>
                </c:pt>
                <c:pt idx="45">
                  <c:v>9458</c:v>
                </c:pt>
                <c:pt idx="46">
                  <c:v>9458</c:v>
                </c:pt>
                <c:pt idx="47">
                  <c:v>9458</c:v>
                </c:pt>
                <c:pt idx="48">
                  <c:v>9458</c:v>
                </c:pt>
                <c:pt idx="49">
                  <c:v>9458</c:v>
                </c:pt>
                <c:pt idx="50">
                  <c:v>9458</c:v>
                </c:pt>
                <c:pt idx="51">
                  <c:v>9458</c:v>
                </c:pt>
                <c:pt idx="52">
                  <c:v>9458</c:v>
                </c:pt>
                <c:pt idx="53">
                  <c:v>9458</c:v>
                </c:pt>
                <c:pt idx="54">
                  <c:v>9458</c:v>
                </c:pt>
                <c:pt idx="55">
                  <c:v>9458</c:v>
                </c:pt>
                <c:pt idx="56">
                  <c:v>9458</c:v>
                </c:pt>
                <c:pt idx="57">
                  <c:v>9458</c:v>
                </c:pt>
                <c:pt idx="58">
                  <c:v>9458</c:v>
                </c:pt>
                <c:pt idx="59">
                  <c:v>9458</c:v>
                </c:pt>
                <c:pt idx="60">
                  <c:v>9458</c:v>
                </c:pt>
                <c:pt idx="61">
                  <c:v>9458</c:v>
                </c:pt>
                <c:pt idx="62">
                  <c:v>9458</c:v>
                </c:pt>
                <c:pt idx="63">
                  <c:v>9458</c:v>
                </c:pt>
                <c:pt idx="64">
                  <c:v>9458</c:v>
                </c:pt>
                <c:pt idx="65">
                  <c:v>9458</c:v>
                </c:pt>
                <c:pt idx="66">
                  <c:v>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9</c:v>
                </c:pt>
                <c:pt idx="1">
                  <c:v>355</c:v>
                </c:pt>
                <c:pt idx="2">
                  <c:v>373</c:v>
                </c:pt>
                <c:pt idx="3">
                  <c:v>368</c:v>
                </c:pt>
                <c:pt idx="4">
                  <c:v>367</c:v>
                </c:pt>
                <c:pt idx="5">
                  <c:v>377</c:v>
                </c:pt>
                <c:pt idx="6">
                  <c:v>376</c:v>
                </c:pt>
                <c:pt idx="7">
                  <c:v>352</c:v>
                </c:pt>
                <c:pt idx="8">
                  <c:v>340</c:v>
                </c:pt>
                <c:pt idx="9">
                  <c:v>298</c:v>
                </c:pt>
                <c:pt idx="10">
                  <c:v>290</c:v>
                </c:pt>
                <c:pt idx="11">
                  <c:v>302</c:v>
                </c:pt>
                <c:pt idx="12">
                  <c:v>285</c:v>
                </c:pt>
                <c:pt idx="13">
                  <c:v>274</c:v>
                </c:pt>
                <c:pt idx="14">
                  <c:v>265</c:v>
                </c:pt>
                <c:pt idx="15">
                  <c:v>255</c:v>
                </c:pt>
                <c:pt idx="16">
                  <c:v>219</c:v>
                </c:pt>
                <c:pt idx="17">
                  <c:v>215</c:v>
                </c:pt>
                <c:pt idx="18">
                  <c:v>221</c:v>
                </c:pt>
                <c:pt idx="19">
                  <c:v>208</c:v>
                </c:pt>
                <c:pt idx="20">
                  <c:v>193</c:v>
                </c:pt>
                <c:pt idx="21">
                  <c:v>168</c:v>
                </c:pt>
                <c:pt idx="22">
                  <c:v>159</c:v>
                </c:pt>
                <c:pt idx="23">
                  <c:v>145</c:v>
                </c:pt>
                <c:pt idx="24">
                  <c:v>146</c:v>
                </c:pt>
                <c:pt idx="25">
                  <c:v>144</c:v>
                </c:pt>
                <c:pt idx="26">
                  <c:v>137</c:v>
                </c:pt>
                <c:pt idx="27">
                  <c:v>128</c:v>
                </c:pt>
                <c:pt idx="28">
                  <c:v>123</c:v>
                </c:pt>
                <c:pt idx="29">
                  <c:v>116</c:v>
                </c:pt>
                <c:pt idx="30">
                  <c:v>91</c:v>
                </c:pt>
                <c:pt idx="31">
                  <c:v>92</c:v>
                </c:pt>
                <c:pt idx="32">
                  <c:v>95</c:v>
                </c:pt>
                <c:pt idx="33">
                  <c:v>86</c:v>
                </c:pt>
                <c:pt idx="34">
                  <c:v>81</c:v>
                </c:pt>
                <c:pt idx="35">
                  <c:v>65</c:v>
                </c:pt>
                <c:pt idx="36">
                  <c:v>61</c:v>
                </c:pt>
                <c:pt idx="37">
                  <c:v>58</c:v>
                </c:pt>
                <c:pt idx="38">
                  <c:v>62</c:v>
                </c:pt>
                <c:pt idx="39">
                  <c:v>67</c:v>
                </c:pt>
                <c:pt idx="40">
                  <c:v>64</c:v>
                </c:pt>
                <c:pt idx="41">
                  <c:v>65</c:v>
                </c:pt>
                <c:pt idx="42">
                  <c:v>62</c:v>
                </c:pt>
                <c:pt idx="43">
                  <c:v>58</c:v>
                </c:pt>
                <c:pt idx="44">
                  <c:v>47</c:v>
                </c:pt>
                <c:pt idx="45">
                  <c:v>48</c:v>
                </c:pt>
                <c:pt idx="46">
                  <c:v>51</c:v>
                </c:pt>
                <c:pt idx="47">
                  <c:v>49</c:v>
                </c:pt>
                <c:pt idx="48">
                  <c:v>48</c:v>
                </c:pt>
                <c:pt idx="49">
                  <c:v>40</c:v>
                </c:pt>
                <c:pt idx="50">
                  <c:v>39</c:v>
                </c:pt>
                <c:pt idx="51">
                  <c:v>36</c:v>
                </c:pt>
                <c:pt idx="52">
                  <c:v>39</c:v>
                </c:pt>
                <c:pt idx="53">
                  <c:v>37</c:v>
                </c:pt>
                <c:pt idx="54">
                  <c:v>34</c:v>
                </c:pt>
                <c:pt idx="55">
                  <c:v>31</c:v>
                </c:pt>
                <c:pt idx="56">
                  <c:v>28</c:v>
                </c:pt>
                <c:pt idx="57">
                  <c:v>2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8.26301054471512</c:v>
                </c:pt>
                <c:pt idx="27">
                  <c:v>142.39209392095256</c:v>
                </c:pt>
                <c:pt idx="28">
                  <c:v>136.78616961210719</c:v>
                </c:pt>
                <c:pt idx="29">
                  <c:v>131.46095285591696</c:v>
                </c:pt>
                <c:pt idx="30">
                  <c:v>126.49685015921798</c:v>
                </c:pt>
                <c:pt idx="31">
                  <c:v>121.94236945575443</c:v>
                </c:pt>
                <c:pt idx="32">
                  <c:v>117.6557839608583</c:v>
                </c:pt>
                <c:pt idx="33">
                  <c:v>113.42876794787495</c:v>
                </c:pt>
                <c:pt idx="34">
                  <c:v>109.30762034432001</c:v>
                </c:pt>
                <c:pt idx="35">
                  <c:v>105.36997378710012</c:v>
                </c:pt>
                <c:pt idx="36">
                  <c:v>101.61615298576044</c:v>
                </c:pt>
                <c:pt idx="37">
                  <c:v>98.024432897483081</c:v>
                </c:pt>
                <c:pt idx="38">
                  <c:v>94.615680194223813</c:v>
                </c:pt>
                <c:pt idx="39">
                  <c:v>91.25987036082023</c:v>
                </c:pt>
                <c:pt idx="40">
                  <c:v>87.878715102654411</c:v>
                </c:pt>
                <c:pt idx="41">
                  <c:v>84.550952723750854</c:v>
                </c:pt>
                <c:pt idx="42">
                  <c:v>81.312753701554954</c:v>
                </c:pt>
                <c:pt idx="43">
                  <c:v>78.173317859679713</c:v>
                </c:pt>
                <c:pt idx="44">
                  <c:v>75.127304953643801</c:v>
                </c:pt>
                <c:pt idx="45">
                  <c:v>72.181998796861492</c:v>
                </c:pt>
                <c:pt idx="46">
                  <c:v>69.29987350620101</c:v>
                </c:pt>
                <c:pt idx="47">
                  <c:v>66.487880785607288</c:v>
                </c:pt>
                <c:pt idx="48">
                  <c:v>63.768027419911618</c:v>
                </c:pt>
                <c:pt idx="49">
                  <c:v>61.128507018192302</c:v>
                </c:pt>
                <c:pt idx="50">
                  <c:v>58.577302111235738</c:v>
                </c:pt>
                <c:pt idx="51">
                  <c:v>56.123578527438553</c:v>
                </c:pt>
                <c:pt idx="52">
                  <c:v>53.763702651473366</c:v>
                </c:pt>
                <c:pt idx="53">
                  <c:v>51.492319197861491</c:v>
                </c:pt>
                <c:pt idx="54">
                  <c:v>49.314086196106402</c:v>
                </c:pt>
                <c:pt idx="55">
                  <c:v>47.22399215358071</c:v>
                </c:pt>
                <c:pt idx="56">
                  <c:v>45.222598076609898</c:v>
                </c:pt>
                <c:pt idx="57">
                  <c:v>43.30250805511114</c:v>
                </c:pt>
                <c:pt idx="58">
                  <c:v>41.467141761522257</c:v>
                </c:pt>
                <c:pt idx="59">
                  <c:v>39.72380279467631</c:v>
                </c:pt>
                <c:pt idx="60">
                  <c:v>38.059158448012475</c:v>
                </c:pt>
                <c:pt idx="61">
                  <c:v>36.463627080474893</c:v>
                </c:pt>
                <c:pt idx="62">
                  <c:v>34.94655959132244</c:v>
                </c:pt>
                <c:pt idx="63">
                  <c:v>33.498938358059533</c:v>
                </c:pt>
                <c:pt idx="64">
                  <c:v>32.119991378984274</c:v>
                </c:pt>
                <c:pt idx="65">
                  <c:v>30.808449758754289</c:v>
                </c:pt>
                <c:pt idx="66">
                  <c:v>29.5591348006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8.49821141657995</c:v>
                </c:pt>
                <c:pt idx="27">
                  <c:v>143.03413801151325</c:v>
                </c:pt>
                <c:pt idx="28">
                  <c:v>137.93868557498823</c:v>
                </c:pt>
                <c:pt idx="29">
                  <c:v>133.18256504514761</c:v>
                </c:pt>
                <c:pt idx="30">
                  <c:v>128.86359352078932</c:v>
                </c:pt>
                <c:pt idx="31">
                  <c:v>125.04456237396204</c:v>
                </c:pt>
                <c:pt idx="32">
                  <c:v>121.59082420134101</c:v>
                </c:pt>
                <c:pt idx="33">
                  <c:v>118.29410717948454</c:v>
                </c:pt>
                <c:pt idx="34">
                  <c:v>115.15692329071052</c:v>
                </c:pt>
                <c:pt idx="35">
                  <c:v>112.23247108094236</c:v>
                </c:pt>
                <c:pt idx="36">
                  <c:v>109.50949032046893</c:v>
                </c:pt>
                <c:pt idx="37">
                  <c:v>106.96941967708416</c:v>
                </c:pt>
                <c:pt idx="38">
                  <c:v>104.62658106235577</c:v>
                </c:pt>
                <c:pt idx="39">
                  <c:v>102.33831248373934</c:v>
                </c:pt>
                <c:pt idx="40">
                  <c:v>100.00684101024041</c:v>
                </c:pt>
                <c:pt idx="41">
                  <c:v>97.693113545231995</c:v>
                </c:pt>
                <c:pt idx="42">
                  <c:v>95.430654240775795</c:v>
                </c:pt>
                <c:pt idx="43">
                  <c:v>93.227327210467678</c:v>
                </c:pt>
                <c:pt idx="44">
                  <c:v>91.07412495506594</c:v>
                </c:pt>
                <c:pt idx="45">
                  <c:v>88.973258192269299</c:v>
                </c:pt>
                <c:pt idx="46">
                  <c:v>86.885517357378916</c:v>
                </c:pt>
                <c:pt idx="47">
                  <c:v>84.813484648325925</c:v>
                </c:pt>
                <c:pt idx="48">
                  <c:v>82.773502584983675</c:v>
                </c:pt>
                <c:pt idx="49">
                  <c:v>80.759107081007826</c:v>
                </c:pt>
                <c:pt idx="50">
                  <c:v>78.776891376299119</c:v>
                </c:pt>
                <c:pt idx="51">
                  <c:v>76.838247521797641</c:v>
                </c:pt>
                <c:pt idx="52">
                  <c:v>74.94009009102875</c:v>
                </c:pt>
                <c:pt idx="53">
                  <c:v>73.0777823906366</c:v>
                </c:pt>
                <c:pt idx="54">
                  <c:v>71.257051423424031</c:v>
                </c:pt>
                <c:pt idx="55">
                  <c:v>69.475953096441472</c:v>
                </c:pt>
                <c:pt idx="56">
                  <c:v>67.737015414807317</c:v>
                </c:pt>
                <c:pt idx="57">
                  <c:v>66.035851441134611</c:v>
                </c:pt>
                <c:pt idx="58">
                  <c:v>64.377153036069402</c:v>
                </c:pt>
                <c:pt idx="59">
                  <c:v>62.771088395025885</c:v>
                </c:pt>
                <c:pt idx="60">
                  <c:v>61.20573642842907</c:v>
                </c:pt>
                <c:pt idx="61">
                  <c:v>59.675880385598219</c:v>
                </c:pt>
                <c:pt idx="62">
                  <c:v>58.190403779315034</c:v>
                </c:pt>
                <c:pt idx="63">
                  <c:v>56.744215310744863</c:v>
                </c:pt>
                <c:pt idx="64">
                  <c:v>55.337668119216183</c:v>
                </c:pt>
                <c:pt idx="65">
                  <c:v>53.971749263822403</c:v>
                </c:pt>
                <c:pt idx="66">
                  <c:v>52.64180704798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8.73163046365789</c:v>
                </c:pt>
                <c:pt idx="27">
                  <c:v>143.67407186090691</c:v>
                </c:pt>
                <c:pt idx="28">
                  <c:v>139.08901181558429</c:v>
                </c:pt>
                <c:pt idx="29">
                  <c:v>134.90194024842842</c:v>
                </c:pt>
                <c:pt idx="30">
                  <c:v>131.23875681430368</c:v>
                </c:pt>
                <c:pt idx="31">
                  <c:v>128.18563670679774</c:v>
                </c:pt>
                <c:pt idx="32">
                  <c:v>125.62213908710261</c:v>
                </c:pt>
                <c:pt idx="33">
                  <c:v>123.34166551609735</c:v>
                </c:pt>
                <c:pt idx="34">
                  <c:v>121.29824108839345</c:v>
                </c:pt>
                <c:pt idx="35">
                  <c:v>119.51821787097549</c:v>
                </c:pt>
                <c:pt idx="36">
                  <c:v>117.98911564188549</c:v>
                </c:pt>
                <c:pt idx="37">
                  <c:v>116.70433614884547</c:v>
                </c:pt>
                <c:pt idx="38">
                  <c:v>115.66915368824627</c:v>
                </c:pt>
                <c:pt idx="39">
                  <c:v>114.72530358481194</c:v>
                </c:pt>
                <c:pt idx="40">
                  <c:v>113.75935057291352</c:v>
                </c:pt>
                <c:pt idx="41">
                  <c:v>112.81218378316774</c:v>
                </c:pt>
                <c:pt idx="42">
                  <c:v>111.90953517112612</c:v>
                </c:pt>
                <c:pt idx="43">
                  <c:v>111.06283185834673</c:v>
                </c:pt>
                <c:pt idx="44">
                  <c:v>110.26388803513748</c:v>
                </c:pt>
                <c:pt idx="45">
                  <c:v>109.50508689374504</c:v>
                </c:pt>
                <c:pt idx="46">
                  <c:v>108.73386757957107</c:v>
                </c:pt>
                <c:pt idx="47">
                  <c:v>107.94800346499051</c:v>
                </c:pt>
                <c:pt idx="48">
                  <c:v>107.16509513670067</c:v>
                </c:pt>
                <c:pt idx="49">
                  <c:v>106.3747464107191</c:v>
                </c:pt>
                <c:pt idx="50">
                  <c:v>105.58602972495925</c:v>
                </c:pt>
                <c:pt idx="51">
                  <c:v>104.80594135645008</c:v>
                </c:pt>
                <c:pt idx="52">
                  <c:v>104.03048312930437</c:v>
                </c:pt>
                <c:pt idx="53">
                  <c:v>103.25220035617801</c:v>
                </c:pt>
                <c:pt idx="54">
                  <c:v>102.47603664962794</c:v>
                </c:pt>
                <c:pt idx="55">
                  <c:v>101.70495601209292</c:v>
                </c:pt>
                <c:pt idx="56">
                  <c:v>100.93906787252882</c:v>
                </c:pt>
                <c:pt idx="57">
                  <c:v>100.17343765557843</c:v>
                </c:pt>
                <c:pt idx="58">
                  <c:v>99.415762470133018</c:v>
                </c:pt>
                <c:pt idx="59">
                  <c:v>98.671210737489048</c:v>
                </c:pt>
                <c:pt idx="60">
                  <c:v>97.93252344486973</c:v>
                </c:pt>
                <c:pt idx="61">
                  <c:v>97.193674858279408</c:v>
                </c:pt>
                <c:pt idx="62">
                  <c:v>96.465030198086552</c:v>
                </c:pt>
                <c:pt idx="63">
                  <c:v>95.741580762443959</c:v>
                </c:pt>
                <c:pt idx="64">
                  <c:v>95.023754553541636</c:v>
                </c:pt>
                <c:pt idx="65">
                  <c:v>94.316039094088481</c:v>
                </c:pt>
                <c:pt idx="66">
                  <c:v>93.612526274729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9.08264994666823</c:v>
                </c:pt>
                <c:pt idx="27">
                  <c:v>144.63680958036772</c:v>
                </c:pt>
                <c:pt idx="28">
                  <c:v>140.81859719118128</c:v>
                </c:pt>
                <c:pt idx="29">
                  <c:v>137.48536638919296</c:v>
                </c:pt>
                <c:pt idx="30">
                  <c:v>134.83002374467901</c:v>
                </c:pt>
                <c:pt idx="31">
                  <c:v>132.9881798916131</c:v>
                </c:pt>
                <c:pt idx="32">
                  <c:v>131.86893992571521</c:v>
                </c:pt>
                <c:pt idx="33">
                  <c:v>131.27561260122985</c:v>
                </c:pt>
                <c:pt idx="34">
                  <c:v>131.08160047548043</c:v>
                </c:pt>
                <c:pt idx="35">
                  <c:v>131.27999712600197</c:v>
                </c:pt>
                <c:pt idx="36">
                  <c:v>131.86607336048706</c:v>
                </c:pt>
                <c:pt idx="37">
                  <c:v>132.87042438886897</c:v>
                </c:pt>
                <c:pt idx="38">
                  <c:v>134.29705588150046</c:v>
                </c:pt>
                <c:pt idx="39">
                  <c:v>135.96261401860343</c:v>
                </c:pt>
                <c:pt idx="40">
                  <c:v>137.72019209485589</c:v>
                </c:pt>
                <c:pt idx="41">
                  <c:v>139.58660301360223</c:v>
                </c:pt>
                <c:pt idx="42">
                  <c:v>141.59249658359198</c:v>
                </c:pt>
                <c:pt idx="43">
                  <c:v>143.76122060362113</c:v>
                </c:pt>
                <c:pt idx="44">
                  <c:v>146.0846986807162</c:v>
                </c:pt>
                <c:pt idx="45">
                  <c:v>148.53633542854138</c:v>
                </c:pt>
                <c:pt idx="46">
                  <c:v>151.0481692283484</c:v>
                </c:pt>
                <c:pt idx="47">
                  <c:v>153.60739144699858</c:v>
                </c:pt>
                <c:pt idx="48">
                  <c:v>156.23419668628719</c:v>
                </c:pt>
                <c:pt idx="49">
                  <c:v>158.92681792766638</c:v>
                </c:pt>
                <c:pt idx="50">
                  <c:v>161.69144693438312</c:v>
                </c:pt>
                <c:pt idx="51">
                  <c:v>164.52836365526295</c:v>
                </c:pt>
                <c:pt idx="52">
                  <c:v>167.42330228372248</c:v>
                </c:pt>
                <c:pt idx="53">
                  <c:v>170.36833020865799</c:v>
                </c:pt>
                <c:pt idx="54">
                  <c:v>173.37268145184788</c:v>
                </c:pt>
                <c:pt idx="55">
                  <c:v>176.44121044650953</c:v>
                </c:pt>
                <c:pt idx="56">
                  <c:v>179.57400372679999</c:v>
                </c:pt>
                <c:pt idx="57">
                  <c:v>182.76298410190006</c:v>
                </c:pt>
                <c:pt idx="58">
                  <c:v>186.0118208991255</c:v>
                </c:pt>
                <c:pt idx="59">
                  <c:v>189.33108884218592</c:v>
                </c:pt>
                <c:pt idx="60">
                  <c:v>192.712560674082</c:v>
                </c:pt>
                <c:pt idx="61">
                  <c:v>196.15133915578568</c:v>
                </c:pt>
                <c:pt idx="62">
                  <c:v>199.65904029081304</c:v>
                </c:pt>
                <c:pt idx="63">
                  <c:v>203.22990707205111</c:v>
                </c:pt>
                <c:pt idx="64">
                  <c:v>206.86517767333035</c:v>
                </c:pt>
                <c:pt idx="65">
                  <c:v>210.56890849973723</c:v>
                </c:pt>
                <c:pt idx="66">
                  <c:v>214.3381584201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6</c:v>
                </c:pt>
                <c:pt idx="1">
                  <c:v>586</c:v>
                </c:pt>
                <c:pt idx="2">
                  <c:v>586</c:v>
                </c:pt>
                <c:pt idx="3">
                  <c:v>586</c:v>
                </c:pt>
                <c:pt idx="4">
                  <c:v>586</c:v>
                </c:pt>
                <c:pt idx="5">
                  <c:v>586</c:v>
                </c:pt>
                <c:pt idx="6">
                  <c:v>586</c:v>
                </c:pt>
                <c:pt idx="7">
                  <c:v>586</c:v>
                </c:pt>
                <c:pt idx="8">
                  <c:v>586</c:v>
                </c:pt>
                <c:pt idx="9">
                  <c:v>586</c:v>
                </c:pt>
                <c:pt idx="10">
                  <c:v>586</c:v>
                </c:pt>
                <c:pt idx="11">
                  <c:v>586</c:v>
                </c:pt>
                <c:pt idx="12">
                  <c:v>586</c:v>
                </c:pt>
                <c:pt idx="13">
                  <c:v>586</c:v>
                </c:pt>
                <c:pt idx="14">
                  <c:v>586</c:v>
                </c:pt>
                <c:pt idx="15">
                  <c:v>586</c:v>
                </c:pt>
                <c:pt idx="16">
                  <c:v>586</c:v>
                </c:pt>
                <c:pt idx="17">
                  <c:v>586</c:v>
                </c:pt>
                <c:pt idx="18">
                  <c:v>586</c:v>
                </c:pt>
                <c:pt idx="19">
                  <c:v>586</c:v>
                </c:pt>
                <c:pt idx="20">
                  <c:v>586</c:v>
                </c:pt>
                <c:pt idx="21">
                  <c:v>586</c:v>
                </c:pt>
                <c:pt idx="22">
                  <c:v>586</c:v>
                </c:pt>
                <c:pt idx="23">
                  <c:v>586</c:v>
                </c:pt>
                <c:pt idx="24">
                  <c:v>586</c:v>
                </c:pt>
                <c:pt idx="25">
                  <c:v>586</c:v>
                </c:pt>
                <c:pt idx="26">
                  <c:v>586</c:v>
                </c:pt>
                <c:pt idx="27">
                  <c:v>586</c:v>
                </c:pt>
                <c:pt idx="28">
                  <c:v>586</c:v>
                </c:pt>
                <c:pt idx="29">
                  <c:v>586</c:v>
                </c:pt>
                <c:pt idx="30">
                  <c:v>586</c:v>
                </c:pt>
                <c:pt idx="31">
                  <c:v>586</c:v>
                </c:pt>
                <c:pt idx="32">
                  <c:v>586</c:v>
                </c:pt>
                <c:pt idx="33">
                  <c:v>586</c:v>
                </c:pt>
                <c:pt idx="34">
                  <c:v>586</c:v>
                </c:pt>
                <c:pt idx="35">
                  <c:v>586</c:v>
                </c:pt>
                <c:pt idx="36">
                  <c:v>586</c:v>
                </c:pt>
                <c:pt idx="37">
                  <c:v>586</c:v>
                </c:pt>
                <c:pt idx="38">
                  <c:v>586</c:v>
                </c:pt>
                <c:pt idx="39">
                  <c:v>586</c:v>
                </c:pt>
                <c:pt idx="40">
                  <c:v>586</c:v>
                </c:pt>
                <c:pt idx="41">
                  <c:v>586</c:v>
                </c:pt>
                <c:pt idx="42">
                  <c:v>586</c:v>
                </c:pt>
                <c:pt idx="43">
                  <c:v>586</c:v>
                </c:pt>
                <c:pt idx="44">
                  <c:v>586</c:v>
                </c:pt>
                <c:pt idx="45">
                  <c:v>586</c:v>
                </c:pt>
                <c:pt idx="46">
                  <c:v>586</c:v>
                </c:pt>
                <c:pt idx="47">
                  <c:v>586</c:v>
                </c:pt>
                <c:pt idx="48">
                  <c:v>586</c:v>
                </c:pt>
                <c:pt idx="49">
                  <c:v>586</c:v>
                </c:pt>
                <c:pt idx="50">
                  <c:v>586</c:v>
                </c:pt>
                <c:pt idx="51">
                  <c:v>586</c:v>
                </c:pt>
                <c:pt idx="52">
                  <c:v>586</c:v>
                </c:pt>
                <c:pt idx="53">
                  <c:v>586</c:v>
                </c:pt>
                <c:pt idx="54">
                  <c:v>586</c:v>
                </c:pt>
                <c:pt idx="55">
                  <c:v>586</c:v>
                </c:pt>
                <c:pt idx="56">
                  <c:v>586</c:v>
                </c:pt>
                <c:pt idx="57">
                  <c:v>586</c:v>
                </c:pt>
                <c:pt idx="58">
                  <c:v>586</c:v>
                </c:pt>
                <c:pt idx="59">
                  <c:v>586</c:v>
                </c:pt>
                <c:pt idx="60">
                  <c:v>586</c:v>
                </c:pt>
                <c:pt idx="61">
                  <c:v>586</c:v>
                </c:pt>
                <c:pt idx="62">
                  <c:v>586</c:v>
                </c:pt>
                <c:pt idx="63">
                  <c:v>586</c:v>
                </c:pt>
                <c:pt idx="64">
                  <c:v>586</c:v>
                </c:pt>
                <c:pt idx="65">
                  <c:v>586</c:v>
                </c:pt>
                <c:pt idx="66">
                  <c:v>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5</c:v>
                </c:pt>
                <c:pt idx="1">
                  <c:v>227</c:v>
                </c:pt>
                <c:pt idx="2">
                  <c:v>221</c:v>
                </c:pt>
                <c:pt idx="3">
                  <c:v>228</c:v>
                </c:pt>
                <c:pt idx="4">
                  <c:v>230</c:v>
                </c:pt>
                <c:pt idx="5">
                  <c:v>246</c:v>
                </c:pt>
                <c:pt idx="6">
                  <c:v>222</c:v>
                </c:pt>
                <c:pt idx="7">
                  <c:v>217</c:v>
                </c:pt>
                <c:pt idx="8">
                  <c:v>198</c:v>
                </c:pt>
                <c:pt idx="9">
                  <c:v>183</c:v>
                </c:pt>
                <c:pt idx="10">
                  <c:v>181</c:v>
                </c:pt>
                <c:pt idx="11">
                  <c:v>207</c:v>
                </c:pt>
                <c:pt idx="12">
                  <c:v>186</c:v>
                </c:pt>
                <c:pt idx="13">
                  <c:v>186</c:v>
                </c:pt>
                <c:pt idx="14">
                  <c:v>192</c:v>
                </c:pt>
                <c:pt idx="15">
                  <c:v>170</c:v>
                </c:pt>
                <c:pt idx="16">
                  <c:v>150</c:v>
                </c:pt>
                <c:pt idx="17">
                  <c:v>152</c:v>
                </c:pt>
                <c:pt idx="18">
                  <c:v>172</c:v>
                </c:pt>
                <c:pt idx="19">
                  <c:v>165</c:v>
                </c:pt>
                <c:pt idx="20">
                  <c:v>175</c:v>
                </c:pt>
                <c:pt idx="21">
                  <c:v>151</c:v>
                </c:pt>
                <c:pt idx="22">
                  <c:v>143</c:v>
                </c:pt>
                <c:pt idx="23">
                  <c:v>125</c:v>
                </c:pt>
                <c:pt idx="24">
                  <c:v>126</c:v>
                </c:pt>
                <c:pt idx="25">
                  <c:v>140</c:v>
                </c:pt>
                <c:pt idx="26">
                  <c:v>131</c:v>
                </c:pt>
                <c:pt idx="27">
                  <c:v>121</c:v>
                </c:pt>
                <c:pt idx="28">
                  <c:v>113</c:v>
                </c:pt>
                <c:pt idx="29">
                  <c:v>110</c:v>
                </c:pt>
                <c:pt idx="30">
                  <c:v>111</c:v>
                </c:pt>
                <c:pt idx="31">
                  <c:v>111</c:v>
                </c:pt>
                <c:pt idx="32">
                  <c:v>121</c:v>
                </c:pt>
                <c:pt idx="33">
                  <c:v>114</c:v>
                </c:pt>
                <c:pt idx="34">
                  <c:v>106</c:v>
                </c:pt>
                <c:pt idx="35">
                  <c:v>96</c:v>
                </c:pt>
                <c:pt idx="36">
                  <c:v>86</c:v>
                </c:pt>
                <c:pt idx="37">
                  <c:v>75</c:v>
                </c:pt>
                <c:pt idx="38">
                  <c:v>74</c:v>
                </c:pt>
                <c:pt idx="39">
                  <c:v>79</c:v>
                </c:pt>
                <c:pt idx="40">
                  <c:v>67</c:v>
                </c:pt>
                <c:pt idx="41">
                  <c:v>68</c:v>
                </c:pt>
                <c:pt idx="42">
                  <c:v>65</c:v>
                </c:pt>
                <c:pt idx="43">
                  <c:v>59</c:v>
                </c:pt>
                <c:pt idx="44">
                  <c:v>52</c:v>
                </c:pt>
                <c:pt idx="45">
                  <c:v>52</c:v>
                </c:pt>
                <c:pt idx="46">
                  <c:v>60</c:v>
                </c:pt>
                <c:pt idx="47">
                  <c:v>49</c:v>
                </c:pt>
                <c:pt idx="48">
                  <c:v>50</c:v>
                </c:pt>
                <c:pt idx="49">
                  <c:v>43</c:v>
                </c:pt>
                <c:pt idx="50">
                  <c:v>45</c:v>
                </c:pt>
                <c:pt idx="51">
                  <c:v>34</c:v>
                </c:pt>
                <c:pt idx="52">
                  <c:v>35</c:v>
                </c:pt>
                <c:pt idx="53">
                  <c:v>39</c:v>
                </c:pt>
                <c:pt idx="54">
                  <c:v>33</c:v>
                </c:pt>
                <c:pt idx="55">
                  <c:v>37</c:v>
                </c:pt>
                <c:pt idx="56">
                  <c:v>34</c:v>
                </c:pt>
                <c:pt idx="57">
                  <c:v>37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9.48614402822159</c:v>
                </c:pt>
                <c:pt idx="27">
                  <c:v>124.3395503704381</c:v>
                </c:pt>
                <c:pt idx="28">
                  <c:v>119.42401599763232</c:v>
                </c:pt>
                <c:pt idx="29">
                  <c:v>114.75005913307822</c:v>
                </c:pt>
                <c:pt idx="30">
                  <c:v>110.39210896255273</c:v>
                </c:pt>
                <c:pt idx="31">
                  <c:v>106.40142160753821</c:v>
                </c:pt>
                <c:pt idx="32">
                  <c:v>102.65141675853801</c:v>
                </c:pt>
                <c:pt idx="33">
                  <c:v>98.959122769210751</c:v>
                </c:pt>
                <c:pt idx="34">
                  <c:v>95.363501672501201</c:v>
                </c:pt>
                <c:pt idx="35">
                  <c:v>91.931883800134301</c:v>
                </c:pt>
                <c:pt idx="36">
                  <c:v>88.65945701278558</c:v>
                </c:pt>
                <c:pt idx="37">
                  <c:v>85.524129997530281</c:v>
                </c:pt>
                <c:pt idx="38">
                  <c:v>82.545651855746655</c:v>
                </c:pt>
                <c:pt idx="39">
                  <c:v>79.609661314762064</c:v>
                </c:pt>
                <c:pt idx="40">
                  <c:v>76.650366943428708</c:v>
                </c:pt>
                <c:pt idx="41">
                  <c:v>73.735146048087543</c:v>
                </c:pt>
                <c:pt idx="42">
                  <c:v>70.901039143672818</c:v>
                </c:pt>
                <c:pt idx="43">
                  <c:v>68.149699537283226</c:v>
                </c:pt>
                <c:pt idx="44">
                  <c:v>65.478335962276944</c:v>
                </c:pt>
                <c:pt idx="45">
                  <c:v>62.894100762534016</c:v>
                </c:pt>
                <c:pt idx="46">
                  <c:v>60.363049485148672</c:v>
                </c:pt>
                <c:pt idx="47">
                  <c:v>57.893236138300168</c:v>
                </c:pt>
                <c:pt idx="48">
                  <c:v>55.504179264566531</c:v>
                </c:pt>
                <c:pt idx="49">
                  <c:v>53.185766600869528</c:v>
                </c:pt>
                <c:pt idx="50">
                  <c:v>50.944395441291675</c:v>
                </c:pt>
                <c:pt idx="51">
                  <c:v>48.787974961473473</c:v>
                </c:pt>
                <c:pt idx="52">
                  <c:v>46.714240244809496</c:v>
                </c:pt>
                <c:pt idx="53">
                  <c:v>44.716552849309195</c:v>
                </c:pt>
                <c:pt idx="54">
                  <c:v>42.800305452391356</c:v>
                </c:pt>
                <c:pt idx="55">
                  <c:v>40.961839747572384</c:v>
                </c:pt>
                <c:pt idx="56">
                  <c:v>39.201401991087536</c:v>
                </c:pt>
                <c:pt idx="57">
                  <c:v>37.51260052757705</c:v>
                </c:pt>
                <c:pt idx="58">
                  <c:v>35.897366987524684</c:v>
                </c:pt>
                <c:pt idx="59">
                  <c:v>34.363371180317756</c:v>
                </c:pt>
                <c:pt idx="60">
                  <c:v>32.89943904183113</c:v>
                </c:pt>
                <c:pt idx="61">
                  <c:v>31.494575799863711</c:v>
                </c:pt>
                <c:pt idx="62">
                  <c:v>30.159192193226176</c:v>
                </c:pt>
                <c:pt idx="63">
                  <c:v>28.885436240023175</c:v>
                </c:pt>
                <c:pt idx="64">
                  <c:v>27.671507989411914</c:v>
                </c:pt>
                <c:pt idx="65">
                  <c:v>26.517650976529907</c:v>
                </c:pt>
                <c:pt idx="66">
                  <c:v>25.418499255779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9.69015169581647</c:v>
                </c:pt>
                <c:pt idx="27">
                  <c:v>124.89657456676903</c:v>
                </c:pt>
                <c:pt idx="28">
                  <c:v>120.42457746001654</c:v>
                </c:pt>
                <c:pt idx="29">
                  <c:v>116.24589987889226</c:v>
                </c:pt>
                <c:pt idx="30">
                  <c:v>112.45037413096415</c:v>
                </c:pt>
                <c:pt idx="31">
                  <c:v>109.10196240930173</c:v>
                </c:pt>
                <c:pt idx="32">
                  <c:v>106.08036217856507</c:v>
                </c:pt>
                <c:pt idx="33">
                  <c:v>103.20273221199594</c:v>
                </c:pt>
                <c:pt idx="34">
                  <c:v>100.46986632283026</c:v>
                </c:pt>
                <c:pt idx="35">
                  <c:v>97.927685322843331</c:v>
                </c:pt>
                <c:pt idx="36">
                  <c:v>95.560952885073704</c:v>
                </c:pt>
                <c:pt idx="37">
                  <c:v>93.350042773195923</c:v>
                </c:pt>
                <c:pt idx="38">
                  <c:v>91.30877535928461</c:v>
                </c:pt>
                <c:pt idx="39">
                  <c:v>89.311633643085742</c:v>
                </c:pt>
                <c:pt idx="40">
                  <c:v>87.27577543631493</c:v>
                </c:pt>
                <c:pt idx="41">
                  <c:v>85.252991945864679</c:v>
                </c:pt>
                <c:pt idx="42">
                  <c:v>83.277867933181199</c:v>
                </c:pt>
                <c:pt idx="43">
                  <c:v>81.350748876896816</c:v>
                </c:pt>
                <c:pt idx="44">
                  <c:v>79.465551080862895</c:v>
                </c:pt>
                <c:pt idx="45">
                  <c:v>77.624931156936228</c:v>
                </c:pt>
                <c:pt idx="46">
                  <c:v>75.793476384786473</c:v>
                </c:pt>
                <c:pt idx="47">
                  <c:v>73.975410262649717</c:v>
                </c:pt>
                <c:pt idx="48">
                  <c:v>72.185342757854386</c:v>
                </c:pt>
                <c:pt idx="49">
                  <c:v>70.417768253412476</c:v>
                </c:pt>
                <c:pt idx="50">
                  <c:v>68.677861728292015</c:v>
                </c:pt>
                <c:pt idx="51">
                  <c:v>66.975468707409277</c:v>
                </c:pt>
                <c:pt idx="52">
                  <c:v>65.308819207003481</c:v>
                </c:pt>
                <c:pt idx="53">
                  <c:v>63.67190925409561</c:v>
                </c:pt>
                <c:pt idx="54">
                  <c:v>62.071077632272306</c:v>
                </c:pt>
                <c:pt idx="55">
                  <c:v>60.50533984800812</c:v>
                </c:pt>
                <c:pt idx="56">
                  <c:v>58.976673759360949</c:v>
                </c:pt>
                <c:pt idx="57">
                  <c:v>57.481326738303061</c:v>
                </c:pt>
                <c:pt idx="58">
                  <c:v>56.022363067071474</c:v>
                </c:pt>
                <c:pt idx="59">
                  <c:v>54.609950609992765</c:v>
                </c:pt>
                <c:pt idx="60">
                  <c:v>53.234168896130754</c:v>
                </c:pt>
                <c:pt idx="61">
                  <c:v>51.887847262438036</c:v>
                </c:pt>
                <c:pt idx="62">
                  <c:v>50.581019992830655</c:v>
                </c:pt>
                <c:pt idx="63">
                  <c:v>49.309280200224222</c:v>
                </c:pt>
                <c:pt idx="64">
                  <c:v>48.071821679412494</c:v>
                </c:pt>
                <c:pt idx="65">
                  <c:v>46.870859092455227</c:v>
                </c:pt>
                <c:pt idx="66">
                  <c:v>45.701509528179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9.89261385077805</c:v>
                </c:pt>
                <c:pt idx="27">
                  <c:v>125.45176740234886</c:v>
                </c:pt>
                <c:pt idx="28">
                  <c:v>121.42323434437589</c:v>
                </c:pt>
                <c:pt idx="29">
                  <c:v>117.73979091367357</c:v>
                </c:pt>
                <c:pt idx="30">
                  <c:v>114.51592776218968</c:v>
                </c:pt>
                <c:pt idx="31">
                  <c:v>111.83621274152605</c:v>
                </c:pt>
                <c:pt idx="32">
                  <c:v>109.59283469414414</c:v>
                </c:pt>
                <c:pt idx="33">
                  <c:v>107.60453200411203</c:v>
                </c:pt>
                <c:pt idx="34">
                  <c:v>105.82991737934366</c:v>
                </c:pt>
                <c:pt idx="35">
                  <c:v>104.29147835269207</c:v>
                </c:pt>
                <c:pt idx="36">
                  <c:v>102.97260574782742</c:v>
                </c:pt>
                <c:pt idx="37">
                  <c:v>101.86382871229961</c:v>
                </c:pt>
                <c:pt idx="38">
                  <c:v>100.97092575146645</c:v>
                </c:pt>
                <c:pt idx="39">
                  <c:v>100.15469268906443</c:v>
                </c:pt>
                <c:pt idx="40">
                  <c:v>99.318565738253625</c:v>
                </c:pt>
                <c:pt idx="41">
                  <c:v>98.496792879194615</c:v>
                </c:pt>
                <c:pt idx="42">
                  <c:v>97.717048251779374</c:v>
                </c:pt>
                <c:pt idx="43">
                  <c:v>96.982613692123181</c:v>
                </c:pt>
                <c:pt idx="44">
                  <c:v>96.287995665464223</c:v>
                </c:pt>
                <c:pt idx="45">
                  <c:v>95.627228265115804</c:v>
                </c:pt>
                <c:pt idx="46">
                  <c:v>94.953299341378056</c:v>
                </c:pt>
                <c:pt idx="47">
                  <c:v>94.266196040730478</c:v>
                </c:pt>
                <c:pt idx="48">
                  <c:v>93.581585662887647</c:v>
                </c:pt>
                <c:pt idx="49">
                  <c:v>92.890496592736355</c:v>
                </c:pt>
                <c:pt idx="50">
                  <c:v>92.20021475243945</c:v>
                </c:pt>
                <c:pt idx="51">
                  <c:v>91.516739581024098</c:v>
                </c:pt>
                <c:pt idx="52">
                  <c:v>90.837509745021691</c:v>
                </c:pt>
                <c:pt idx="53">
                  <c:v>90.154055310580532</c:v>
                </c:pt>
                <c:pt idx="54">
                  <c:v>89.472026462795966</c:v>
                </c:pt>
                <c:pt idx="55">
                  <c:v>88.794684674004941</c:v>
                </c:pt>
                <c:pt idx="56">
                  <c:v>88.121907926878407</c:v>
                </c:pt>
                <c:pt idx="57">
                  <c:v>87.449484706017202</c:v>
                </c:pt>
                <c:pt idx="58">
                  <c:v>86.783086973013852</c:v>
                </c:pt>
                <c:pt idx="59">
                  <c:v>86.128541119981264</c:v>
                </c:pt>
                <c:pt idx="60">
                  <c:v>85.479979945563883</c:v>
                </c:pt>
                <c:pt idx="61">
                  <c:v>84.829540826810401</c:v>
                </c:pt>
                <c:pt idx="62">
                  <c:v>84.188557664413366</c:v>
                </c:pt>
                <c:pt idx="63">
                  <c:v>83.552709774003034</c:v>
                </c:pt>
                <c:pt idx="64">
                  <c:v>82.921256165707206</c:v>
                </c:pt>
                <c:pt idx="65">
                  <c:v>82.299443735902003</c:v>
                </c:pt>
                <c:pt idx="66">
                  <c:v>81.681305263792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0.197079839537</c:v>
                </c:pt>
                <c:pt idx="27">
                  <c:v>126.28701784872743</c:v>
                </c:pt>
                <c:pt idx="28">
                  <c:v>122.92477607699502</c:v>
                </c:pt>
                <c:pt idx="29">
                  <c:v>119.98442257976225</c:v>
                </c:pt>
                <c:pt idx="30">
                  <c:v>117.63901693611538</c:v>
                </c:pt>
                <c:pt idx="31">
                  <c:v>116.01650365717489</c:v>
                </c:pt>
                <c:pt idx="32">
                  <c:v>115.03501508193254</c:v>
                </c:pt>
                <c:pt idx="33">
                  <c:v>114.52215550020361</c:v>
                </c:pt>
                <c:pt idx="34">
                  <c:v>114.36653005359733</c:v>
                </c:pt>
                <c:pt idx="35">
                  <c:v>114.56169250086926</c:v>
                </c:pt>
                <c:pt idx="36">
                  <c:v>115.09740247440104</c:v>
                </c:pt>
                <c:pt idx="37">
                  <c:v>115.99625034461872</c:v>
                </c:pt>
                <c:pt idx="38">
                  <c:v>117.26273420059162</c:v>
                </c:pt>
                <c:pt idx="39">
                  <c:v>118.73576301058556</c:v>
                </c:pt>
                <c:pt idx="40">
                  <c:v>120.28962299261276</c:v>
                </c:pt>
                <c:pt idx="41">
                  <c:v>121.93751551443293</c:v>
                </c:pt>
                <c:pt idx="42">
                  <c:v>123.71119801624334</c:v>
                </c:pt>
                <c:pt idx="43">
                  <c:v>125.62411229442345</c:v>
                </c:pt>
                <c:pt idx="44">
                  <c:v>127.67073870703814</c:v>
                </c:pt>
                <c:pt idx="45">
                  <c:v>129.82854271212665</c:v>
                </c:pt>
                <c:pt idx="46">
                  <c:v>132.03715308864793</c:v>
                </c:pt>
                <c:pt idx="47">
                  <c:v>134.28729566807581</c:v>
                </c:pt>
                <c:pt idx="48">
                  <c:v>136.59685241750861</c:v>
                </c:pt>
                <c:pt idx="49">
                  <c:v>138.96425139600655</c:v>
                </c:pt>
                <c:pt idx="50">
                  <c:v>141.39422852026618</c:v>
                </c:pt>
                <c:pt idx="51">
                  <c:v>143.88692853205964</c:v>
                </c:pt>
                <c:pt idx="52">
                  <c:v>146.43088103539984</c:v>
                </c:pt>
                <c:pt idx="53">
                  <c:v>149.01717463395741</c:v>
                </c:pt>
                <c:pt idx="54">
                  <c:v>151.65515175613183</c:v>
                </c:pt>
                <c:pt idx="55">
                  <c:v>154.34969305894697</c:v>
                </c:pt>
                <c:pt idx="56">
                  <c:v>157.10065355574508</c:v>
                </c:pt>
                <c:pt idx="57">
                  <c:v>159.90110129424119</c:v>
                </c:pt>
                <c:pt idx="58">
                  <c:v>162.75321926542367</c:v>
                </c:pt>
                <c:pt idx="59">
                  <c:v>165.66749802245766</c:v>
                </c:pt>
                <c:pt idx="60">
                  <c:v>168.6372285471094</c:v>
                </c:pt>
                <c:pt idx="61">
                  <c:v>171.65555153529573</c:v>
                </c:pt>
                <c:pt idx="62">
                  <c:v>174.73489243812483</c:v>
                </c:pt>
                <c:pt idx="63">
                  <c:v>177.87030694861329</c:v>
                </c:pt>
                <c:pt idx="64">
                  <c:v>181.06175811883784</c:v>
                </c:pt>
                <c:pt idx="65">
                  <c:v>184.31410571931482</c:v>
                </c:pt>
                <c:pt idx="66">
                  <c:v>187.62396769275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30</c:v>
                </c:pt>
                <c:pt idx="1">
                  <c:v>789</c:v>
                </c:pt>
                <c:pt idx="2">
                  <c:v>784</c:v>
                </c:pt>
                <c:pt idx="3">
                  <c:v>798</c:v>
                </c:pt>
                <c:pt idx="4">
                  <c:v>841</c:v>
                </c:pt>
                <c:pt idx="5">
                  <c:v>912</c:v>
                </c:pt>
                <c:pt idx="6">
                  <c:v>865</c:v>
                </c:pt>
                <c:pt idx="7">
                  <c:v>817</c:v>
                </c:pt>
                <c:pt idx="8">
                  <c:v>770</c:v>
                </c:pt>
                <c:pt idx="9">
                  <c:v>680</c:v>
                </c:pt>
                <c:pt idx="10">
                  <c:v>677</c:v>
                </c:pt>
                <c:pt idx="11">
                  <c:v>707</c:v>
                </c:pt>
                <c:pt idx="12">
                  <c:v>638</c:v>
                </c:pt>
                <c:pt idx="13">
                  <c:v>580</c:v>
                </c:pt>
                <c:pt idx="14">
                  <c:v>542</c:v>
                </c:pt>
                <c:pt idx="15">
                  <c:v>496</c:v>
                </c:pt>
                <c:pt idx="16">
                  <c:v>456</c:v>
                </c:pt>
                <c:pt idx="17">
                  <c:v>455</c:v>
                </c:pt>
                <c:pt idx="18">
                  <c:v>506</c:v>
                </c:pt>
                <c:pt idx="19">
                  <c:v>464</c:v>
                </c:pt>
                <c:pt idx="20">
                  <c:v>458</c:v>
                </c:pt>
                <c:pt idx="21">
                  <c:v>455</c:v>
                </c:pt>
                <c:pt idx="22">
                  <c:v>438</c:v>
                </c:pt>
                <c:pt idx="23">
                  <c:v>391</c:v>
                </c:pt>
                <c:pt idx="24">
                  <c:v>387</c:v>
                </c:pt>
                <c:pt idx="25">
                  <c:v>410</c:v>
                </c:pt>
                <c:pt idx="26">
                  <c:v>391</c:v>
                </c:pt>
                <c:pt idx="27">
                  <c:v>389</c:v>
                </c:pt>
                <c:pt idx="28">
                  <c:v>361</c:v>
                </c:pt>
                <c:pt idx="29">
                  <c:v>362</c:v>
                </c:pt>
                <c:pt idx="30">
                  <c:v>327</c:v>
                </c:pt>
                <c:pt idx="31">
                  <c:v>344</c:v>
                </c:pt>
                <c:pt idx="32">
                  <c:v>348</c:v>
                </c:pt>
                <c:pt idx="33">
                  <c:v>321</c:v>
                </c:pt>
                <c:pt idx="34">
                  <c:v>312</c:v>
                </c:pt>
                <c:pt idx="35">
                  <c:v>305</c:v>
                </c:pt>
                <c:pt idx="36">
                  <c:v>302</c:v>
                </c:pt>
                <c:pt idx="37">
                  <c:v>262</c:v>
                </c:pt>
                <c:pt idx="38">
                  <c:v>268</c:v>
                </c:pt>
                <c:pt idx="39">
                  <c:v>279</c:v>
                </c:pt>
                <c:pt idx="40">
                  <c:v>265</c:v>
                </c:pt>
                <c:pt idx="41">
                  <c:v>244</c:v>
                </c:pt>
                <c:pt idx="42">
                  <c:v>230</c:v>
                </c:pt>
                <c:pt idx="43">
                  <c:v>228</c:v>
                </c:pt>
                <c:pt idx="44">
                  <c:v>208</c:v>
                </c:pt>
                <c:pt idx="45">
                  <c:v>209</c:v>
                </c:pt>
                <c:pt idx="46">
                  <c:v>219</c:v>
                </c:pt>
                <c:pt idx="47">
                  <c:v>199</c:v>
                </c:pt>
                <c:pt idx="48">
                  <c:v>165</c:v>
                </c:pt>
                <c:pt idx="49">
                  <c:v>146</c:v>
                </c:pt>
                <c:pt idx="50">
                  <c:v>137</c:v>
                </c:pt>
                <c:pt idx="51">
                  <c:v>125</c:v>
                </c:pt>
                <c:pt idx="52">
                  <c:v>124</c:v>
                </c:pt>
                <c:pt idx="53">
                  <c:v>130</c:v>
                </c:pt>
                <c:pt idx="54">
                  <c:v>119</c:v>
                </c:pt>
                <c:pt idx="55">
                  <c:v>116</c:v>
                </c:pt>
                <c:pt idx="56">
                  <c:v>107</c:v>
                </c:pt>
                <c:pt idx="57">
                  <c:v>9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01.10511708444676</c:v>
                </c:pt>
                <c:pt idx="27">
                  <c:v>385.14326508845465</c:v>
                </c:pt>
                <c:pt idx="28">
                  <c:v>369.89678113893217</c:v>
                </c:pt>
                <c:pt idx="29">
                  <c:v>355.39500553692164</c:v>
                </c:pt>
                <c:pt idx="30">
                  <c:v>341.87274681787443</c:v>
                </c:pt>
                <c:pt idx="31">
                  <c:v>329.49776776597548</c:v>
                </c:pt>
                <c:pt idx="32">
                  <c:v>317.87513145197732</c:v>
                </c:pt>
                <c:pt idx="33">
                  <c:v>306.43701173848171</c:v>
                </c:pt>
                <c:pt idx="34">
                  <c:v>295.302610698683</c:v>
                </c:pt>
                <c:pt idx="35">
                  <c:v>284.68001977177346</c:v>
                </c:pt>
                <c:pt idx="36">
                  <c:v>274.54918133478952</c:v>
                </c:pt>
                <c:pt idx="37">
                  <c:v>264.83851222939364</c:v>
                </c:pt>
                <c:pt idx="38">
                  <c:v>255.61073032912253</c:v>
                </c:pt>
                <c:pt idx="39">
                  <c:v>246.51076980055359</c:v>
                </c:pt>
                <c:pt idx="40">
                  <c:v>237.33744072181833</c:v>
                </c:pt>
                <c:pt idx="41">
                  <c:v>228.29805137623867</c:v>
                </c:pt>
                <c:pt idx="42">
                  <c:v>219.512851215301</c:v>
                </c:pt>
                <c:pt idx="43">
                  <c:v>210.98051075182201</c:v>
                </c:pt>
                <c:pt idx="44">
                  <c:v>202.69427661768114</c:v>
                </c:pt>
                <c:pt idx="45">
                  <c:v>194.67710400814462</c:v>
                </c:pt>
                <c:pt idx="46">
                  <c:v>186.82266045792488</c:v>
                </c:pt>
                <c:pt idx="47">
                  <c:v>179.15789890894558</c:v>
                </c:pt>
                <c:pt idx="48">
                  <c:v>171.74358340609902</c:v>
                </c:pt>
                <c:pt idx="49">
                  <c:v>164.54859057858027</c:v>
                </c:pt>
                <c:pt idx="50">
                  <c:v>157.59215658409164</c:v>
                </c:pt>
                <c:pt idx="51">
                  <c:v>150.89868454092527</c:v>
                </c:pt>
                <c:pt idx="52">
                  <c:v>144.4620768985352</c:v>
                </c:pt>
                <c:pt idx="53">
                  <c:v>138.25978722885071</c:v>
                </c:pt>
                <c:pt idx="54">
                  <c:v>132.30985924746284</c:v>
                </c:pt>
                <c:pt idx="55">
                  <c:v>126.60168706046778</c:v>
                </c:pt>
                <c:pt idx="56">
                  <c:v>121.1357871333179</c:v>
                </c:pt>
                <c:pt idx="57">
                  <c:v>115.89242856899064</c:v>
                </c:pt>
                <c:pt idx="58">
                  <c:v>110.87652847549987</c:v>
                </c:pt>
                <c:pt idx="59">
                  <c:v>106.11315061679525</c:v>
                </c:pt>
                <c:pt idx="60">
                  <c:v>101.56815668119282</c:v>
                </c:pt>
                <c:pt idx="61">
                  <c:v>97.204833307186135</c:v>
                </c:pt>
                <c:pt idx="62">
                  <c:v>93.057698035461712</c:v>
                </c:pt>
                <c:pt idx="63">
                  <c:v>89.102451885825047</c:v>
                </c:pt>
                <c:pt idx="64">
                  <c:v>85.332381230243598</c:v>
                </c:pt>
                <c:pt idx="65">
                  <c:v>81.749606908793822</c:v>
                </c:pt>
                <c:pt idx="66">
                  <c:v>78.336654713430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01.73564381393942</c:v>
                </c:pt>
                <c:pt idx="27">
                  <c:v>386.86499308438636</c:v>
                </c:pt>
                <c:pt idx="28">
                  <c:v>372.99012999433432</c:v>
                </c:pt>
                <c:pt idx="29">
                  <c:v>360.02080294309513</c:v>
                </c:pt>
                <c:pt idx="30">
                  <c:v>348.23973388372087</c:v>
                </c:pt>
                <c:pt idx="31">
                  <c:v>337.85427888513783</c:v>
                </c:pt>
                <c:pt idx="32">
                  <c:v>328.48904347955715</c:v>
                </c:pt>
                <c:pt idx="33">
                  <c:v>319.57668977665924</c:v>
                </c:pt>
                <c:pt idx="34">
                  <c:v>311.11826146445128</c:v>
                </c:pt>
                <c:pt idx="35">
                  <c:v>303.25545973032206</c:v>
                </c:pt>
                <c:pt idx="36">
                  <c:v>295.93562650896661</c:v>
                </c:pt>
                <c:pt idx="37">
                  <c:v>289.09451342331494</c:v>
                </c:pt>
                <c:pt idx="38">
                  <c:v>282.77625795848513</c:v>
                </c:pt>
                <c:pt idx="39">
                  <c:v>276.59111751325253</c:v>
                </c:pt>
                <c:pt idx="40">
                  <c:v>270.28505044372469</c:v>
                </c:pt>
                <c:pt idx="41">
                  <c:v>264.01703604379651</c:v>
                </c:pt>
                <c:pt idx="42">
                  <c:v>257.89957050739952</c:v>
                </c:pt>
                <c:pt idx="43">
                  <c:v>251.92713030994904</c:v>
                </c:pt>
                <c:pt idx="44">
                  <c:v>246.08267263652874</c:v>
                </c:pt>
                <c:pt idx="45">
                  <c:v>240.37516056511296</c:v>
                </c:pt>
                <c:pt idx="46">
                  <c:v>234.69371563198615</c:v>
                </c:pt>
                <c:pt idx="47">
                  <c:v>229.05341059053762</c:v>
                </c:pt>
                <c:pt idx="48">
                  <c:v>223.49984310052648</c:v>
                </c:pt>
                <c:pt idx="49">
                  <c:v>218.01609993037539</c:v>
                </c:pt>
                <c:pt idx="50">
                  <c:v>212.61762184148654</c:v>
                </c:pt>
                <c:pt idx="51">
                  <c:v>207.33480210160627</c:v>
                </c:pt>
                <c:pt idx="52">
                  <c:v>202.16309264374476</c:v>
                </c:pt>
                <c:pt idx="53">
                  <c:v>197.08191937275643</c:v>
                </c:pt>
                <c:pt idx="54">
                  <c:v>192.11226937722242</c:v>
                </c:pt>
                <c:pt idx="55">
                  <c:v>187.25181417919117</c:v>
                </c:pt>
                <c:pt idx="56">
                  <c:v>182.5064480363252</c:v>
                </c:pt>
                <c:pt idx="57">
                  <c:v>177.86462613190957</c:v>
                </c:pt>
                <c:pt idx="58">
                  <c:v>173.33479596897541</c:v>
                </c:pt>
                <c:pt idx="59">
                  <c:v>168.94975566315503</c:v>
                </c:pt>
                <c:pt idx="60">
                  <c:v>164.67927109590443</c:v>
                </c:pt>
                <c:pt idx="61">
                  <c:v>160.49848687122471</c:v>
                </c:pt>
                <c:pt idx="62">
                  <c:v>156.44078648214099</c:v>
                </c:pt>
                <c:pt idx="63">
                  <c:v>152.49255890673405</c:v>
                </c:pt>
                <c:pt idx="64">
                  <c:v>148.65018003096176</c:v>
                </c:pt>
                <c:pt idx="65">
                  <c:v>144.92187748107804</c:v>
                </c:pt>
                <c:pt idx="66">
                  <c:v>141.29169635404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02.36139382578438</c:v>
                </c:pt>
                <c:pt idx="27">
                  <c:v>388.58105988641034</c:v>
                </c:pt>
                <c:pt idx="28">
                  <c:v>376.07758700951013</c:v>
                </c:pt>
                <c:pt idx="29">
                  <c:v>364.64056480489899</c:v>
                </c:pt>
                <c:pt idx="30">
                  <c:v>354.62923235901673</c:v>
                </c:pt>
                <c:pt idx="31">
                  <c:v>346.31496052730319</c:v>
                </c:pt>
                <c:pt idx="32">
                  <c:v>339.36113391416433</c:v>
                </c:pt>
                <c:pt idx="33">
                  <c:v>333.20542717948649</c:v>
                </c:pt>
                <c:pt idx="34">
                  <c:v>327.71838786722924</c:v>
                </c:pt>
                <c:pt idx="35">
                  <c:v>322.96914199455478</c:v>
                </c:pt>
                <c:pt idx="36">
                  <c:v>318.90046815361626</c:v>
                </c:pt>
                <c:pt idx="37">
                  <c:v>315.4792801673085</c:v>
                </c:pt>
                <c:pt idx="38">
                  <c:v>312.72466286740831</c:v>
                </c:pt>
                <c:pt idx="39">
                  <c:v>310.20441415801986</c:v>
                </c:pt>
                <c:pt idx="40">
                  <c:v>307.62194413810903</c:v>
                </c:pt>
                <c:pt idx="41">
                  <c:v>305.08186304166605</c:v>
                </c:pt>
                <c:pt idx="42">
                  <c:v>302.67515383046515</c:v>
                </c:pt>
                <c:pt idx="43">
                  <c:v>300.40521152027191</c:v>
                </c:pt>
                <c:pt idx="44">
                  <c:v>298.25669256768231</c:v>
                </c:pt>
                <c:pt idx="45">
                  <c:v>296.21181031096671</c:v>
                </c:pt>
                <c:pt idx="46">
                  <c:v>294.12381674394641</c:v>
                </c:pt>
                <c:pt idx="47">
                  <c:v>291.99462486669694</c:v>
                </c:pt>
                <c:pt idx="48">
                  <c:v>289.87306574734623</c:v>
                </c:pt>
                <c:pt idx="49">
                  <c:v>287.73145741122136</c:v>
                </c:pt>
                <c:pt idx="50">
                  <c:v>285.59172475529346</c:v>
                </c:pt>
                <c:pt idx="51">
                  <c:v>283.47234005509574</c:v>
                </c:pt>
                <c:pt idx="52">
                  <c:v>281.36630977192686</c:v>
                </c:pt>
                <c:pt idx="53">
                  <c:v>279.2454161755054</c:v>
                </c:pt>
                <c:pt idx="54">
                  <c:v>277.1285088353693</c:v>
                </c:pt>
                <c:pt idx="55">
                  <c:v>275.0263708852159</c:v>
                </c:pt>
                <c:pt idx="56">
                  <c:v>272.93840439900481</c:v>
                </c:pt>
                <c:pt idx="57">
                  <c:v>270.85166268499148</c:v>
                </c:pt>
                <c:pt idx="58">
                  <c:v>268.78265381975064</c:v>
                </c:pt>
                <c:pt idx="59">
                  <c:v>266.75075285383559</c:v>
                </c:pt>
                <c:pt idx="60">
                  <c:v>264.73826277766915</c:v>
                </c:pt>
                <c:pt idx="61">
                  <c:v>262.71819946085481</c:v>
                </c:pt>
                <c:pt idx="62">
                  <c:v>260.72797779961707</c:v>
                </c:pt>
                <c:pt idx="63">
                  <c:v>258.75426801888955</c:v>
                </c:pt>
                <c:pt idx="64">
                  <c:v>256.7936478518161</c:v>
                </c:pt>
                <c:pt idx="65">
                  <c:v>254.86371259858873</c:v>
                </c:pt>
                <c:pt idx="66">
                  <c:v>252.94516164998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03.3024072023756</c:v>
                </c:pt>
                <c:pt idx="27">
                  <c:v>391.16276740404771</c:v>
                </c:pt>
                <c:pt idx="28">
                  <c:v>380.71976800511845</c:v>
                </c:pt>
                <c:pt idx="29">
                  <c:v>371.58194780696954</c:v>
                </c:pt>
                <c:pt idx="30">
                  <c:v>364.29002167290491</c:v>
                </c:pt>
                <c:pt idx="31">
                  <c:v>359.2499311618775</c:v>
                </c:pt>
                <c:pt idx="32">
                  <c:v>356.20556616826599</c:v>
                </c:pt>
                <c:pt idx="33">
                  <c:v>354.62228072591671</c:v>
                </c:pt>
                <c:pt idx="34">
                  <c:v>354.15417104437381</c:v>
                </c:pt>
                <c:pt idx="35">
                  <c:v>354.78084980637408</c:v>
                </c:pt>
                <c:pt idx="36">
                  <c:v>356.46441911203499</c:v>
                </c:pt>
                <c:pt idx="37">
                  <c:v>359.27068137415108</c:v>
                </c:pt>
                <c:pt idx="38">
                  <c:v>363.21458078555833</c:v>
                </c:pt>
                <c:pt idx="39">
                  <c:v>367.79614216158097</c:v>
                </c:pt>
                <c:pt idx="40">
                  <c:v>372.62856191637064</c:v>
                </c:pt>
                <c:pt idx="41">
                  <c:v>377.75123511344668</c:v>
                </c:pt>
                <c:pt idx="42">
                  <c:v>383.26757939070365</c:v>
                </c:pt>
                <c:pt idx="43">
                  <c:v>389.21220820203712</c:v>
                </c:pt>
                <c:pt idx="44">
                  <c:v>395.56957414114618</c:v>
                </c:pt>
                <c:pt idx="45">
                  <c:v>402.27057286918057</c:v>
                </c:pt>
                <c:pt idx="46">
                  <c:v>409.12716665535532</c:v>
                </c:pt>
                <c:pt idx="47">
                  <c:v>416.11256033171082</c:v>
                </c:pt>
                <c:pt idx="48">
                  <c:v>423.28239389080591</c:v>
                </c:pt>
                <c:pt idx="49">
                  <c:v>430.63176896089385</c:v>
                </c:pt>
                <c:pt idx="50">
                  <c:v>438.17467684032658</c:v>
                </c:pt>
                <c:pt idx="51">
                  <c:v>445.91146505216585</c:v>
                </c:pt>
                <c:pt idx="52">
                  <c:v>453.80760158886056</c:v>
                </c:pt>
                <c:pt idx="53">
                  <c:v>461.83347688809744</c:v>
                </c:pt>
                <c:pt idx="54">
                  <c:v>470.01932246329937</c:v>
                </c:pt>
                <c:pt idx="55">
                  <c:v>478.38090496731502</c:v>
                </c:pt>
                <c:pt idx="56">
                  <c:v>486.91755231630327</c:v>
                </c:pt>
                <c:pt idx="57">
                  <c:v>495.60791525081652</c:v>
                </c:pt>
                <c:pt idx="58">
                  <c:v>504.45772319650433</c:v>
                </c:pt>
                <c:pt idx="59">
                  <c:v>513.50074114525694</c:v>
                </c:pt>
                <c:pt idx="60">
                  <c:v>522.71666826291357</c:v>
                </c:pt>
                <c:pt idx="61">
                  <c:v>532.08164630416582</c:v>
                </c:pt>
                <c:pt idx="62">
                  <c:v>541.63647059082632</c:v>
                </c:pt>
                <c:pt idx="63">
                  <c:v>551.36590981061272</c:v>
                </c:pt>
                <c:pt idx="64">
                  <c:v>561.26871902170706</c:v>
                </c:pt>
                <c:pt idx="65">
                  <c:v>571.36128361390342</c:v>
                </c:pt>
                <c:pt idx="66">
                  <c:v>581.6323048310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  <c:pt idx="61">
                  <c:v>1189</c:v>
                </c:pt>
                <c:pt idx="62">
                  <c:v>1189</c:v>
                </c:pt>
                <c:pt idx="63">
                  <c:v>1189</c:v>
                </c:pt>
                <c:pt idx="64">
                  <c:v>1189</c:v>
                </c:pt>
                <c:pt idx="65">
                  <c:v>1189</c:v>
                </c:pt>
                <c:pt idx="66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47</c:v>
                </c:pt>
                <c:pt idx="2">
                  <c:v>357</c:v>
                </c:pt>
                <c:pt idx="3">
                  <c:v>359</c:v>
                </c:pt>
                <c:pt idx="4">
                  <c:v>354</c:v>
                </c:pt>
                <c:pt idx="5">
                  <c:v>369</c:v>
                </c:pt>
                <c:pt idx="6">
                  <c:v>343</c:v>
                </c:pt>
                <c:pt idx="7">
                  <c:v>328</c:v>
                </c:pt>
                <c:pt idx="8">
                  <c:v>329</c:v>
                </c:pt>
                <c:pt idx="9">
                  <c:v>296</c:v>
                </c:pt>
                <c:pt idx="10">
                  <c:v>312</c:v>
                </c:pt>
                <c:pt idx="11">
                  <c:v>332</c:v>
                </c:pt>
                <c:pt idx="12">
                  <c:v>319</c:v>
                </c:pt>
                <c:pt idx="13">
                  <c:v>299</c:v>
                </c:pt>
                <c:pt idx="14">
                  <c:v>297</c:v>
                </c:pt>
                <c:pt idx="15">
                  <c:v>292</c:v>
                </c:pt>
                <c:pt idx="16">
                  <c:v>260</c:v>
                </c:pt>
                <c:pt idx="17">
                  <c:v>272</c:v>
                </c:pt>
                <c:pt idx="18">
                  <c:v>287</c:v>
                </c:pt>
                <c:pt idx="19">
                  <c:v>285</c:v>
                </c:pt>
                <c:pt idx="20">
                  <c:v>289</c:v>
                </c:pt>
                <c:pt idx="21">
                  <c:v>278</c:v>
                </c:pt>
                <c:pt idx="22">
                  <c:v>264</c:v>
                </c:pt>
                <c:pt idx="23">
                  <c:v>245</c:v>
                </c:pt>
                <c:pt idx="24">
                  <c:v>248</c:v>
                </c:pt>
                <c:pt idx="25">
                  <c:v>253</c:v>
                </c:pt>
                <c:pt idx="26">
                  <c:v>242</c:v>
                </c:pt>
                <c:pt idx="27">
                  <c:v>215</c:v>
                </c:pt>
                <c:pt idx="28">
                  <c:v>208</c:v>
                </c:pt>
                <c:pt idx="29">
                  <c:v>197</c:v>
                </c:pt>
                <c:pt idx="30">
                  <c:v>178</c:v>
                </c:pt>
                <c:pt idx="31">
                  <c:v>179</c:v>
                </c:pt>
                <c:pt idx="32">
                  <c:v>192</c:v>
                </c:pt>
                <c:pt idx="33">
                  <c:v>181</c:v>
                </c:pt>
                <c:pt idx="34">
                  <c:v>171</c:v>
                </c:pt>
                <c:pt idx="35">
                  <c:v>163</c:v>
                </c:pt>
                <c:pt idx="36">
                  <c:v>153</c:v>
                </c:pt>
                <c:pt idx="37">
                  <c:v>141</c:v>
                </c:pt>
                <c:pt idx="38">
                  <c:v>141</c:v>
                </c:pt>
                <c:pt idx="39">
                  <c:v>136</c:v>
                </c:pt>
                <c:pt idx="40">
                  <c:v>137</c:v>
                </c:pt>
                <c:pt idx="41">
                  <c:v>128</c:v>
                </c:pt>
                <c:pt idx="42">
                  <c:v>116</c:v>
                </c:pt>
                <c:pt idx="43">
                  <c:v>110</c:v>
                </c:pt>
                <c:pt idx="44">
                  <c:v>96</c:v>
                </c:pt>
                <c:pt idx="45">
                  <c:v>91</c:v>
                </c:pt>
                <c:pt idx="46">
                  <c:v>92</c:v>
                </c:pt>
                <c:pt idx="47">
                  <c:v>91</c:v>
                </c:pt>
                <c:pt idx="48">
                  <c:v>80</c:v>
                </c:pt>
                <c:pt idx="49">
                  <c:v>75</c:v>
                </c:pt>
                <c:pt idx="50">
                  <c:v>62</c:v>
                </c:pt>
                <c:pt idx="51">
                  <c:v>53</c:v>
                </c:pt>
                <c:pt idx="52">
                  <c:v>51</c:v>
                </c:pt>
                <c:pt idx="53">
                  <c:v>51</c:v>
                </c:pt>
                <c:pt idx="54">
                  <c:v>46</c:v>
                </c:pt>
                <c:pt idx="55">
                  <c:v>45</c:v>
                </c:pt>
                <c:pt idx="56">
                  <c:v>37</c:v>
                </c:pt>
                <c:pt idx="57">
                  <c:v>3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.76649349684743</c:v>
                </c:pt>
                <c:pt idx="27">
                  <c:v>227.38840453276654</c:v>
                </c:pt>
                <c:pt idx="28">
                  <c:v>218.4334405198174</c:v>
                </c:pt>
                <c:pt idx="29">
                  <c:v>209.92626139224438</c:v>
                </c:pt>
                <c:pt idx="30">
                  <c:v>201.99584338719845</c:v>
                </c:pt>
                <c:pt idx="31">
                  <c:v>194.72086027765164</c:v>
                </c:pt>
                <c:pt idx="32">
                  <c:v>187.87460219756778</c:v>
                </c:pt>
                <c:pt idx="33">
                  <c:v>181.12424629531512</c:v>
                </c:pt>
                <c:pt idx="34">
                  <c:v>174.54352852795873</c:v>
                </c:pt>
                <c:pt idx="35">
                  <c:v>168.25635921531068</c:v>
                </c:pt>
                <c:pt idx="36">
                  <c:v>162.26256360541689</c:v>
                </c:pt>
                <c:pt idx="37">
                  <c:v>156.52702403390015</c:v>
                </c:pt>
                <c:pt idx="38">
                  <c:v>151.08327072984301</c:v>
                </c:pt>
                <c:pt idx="39">
                  <c:v>145.72355354437127</c:v>
                </c:pt>
                <c:pt idx="40">
                  <c:v>140.32320239480799</c:v>
                </c:pt>
                <c:pt idx="41">
                  <c:v>135.00776829256182</c:v>
                </c:pt>
                <c:pt idx="42">
                  <c:v>129.8357547751782</c:v>
                </c:pt>
                <c:pt idx="43">
                  <c:v>124.82098515660527</c:v>
                </c:pt>
                <c:pt idx="44">
                  <c:v>119.95518619196608</c:v>
                </c:pt>
                <c:pt idx="45">
                  <c:v>115.25009728049673</c:v>
                </c:pt>
                <c:pt idx="46">
                  <c:v>110.64563267300534</c:v>
                </c:pt>
                <c:pt idx="47">
                  <c:v>106.15316354826811</c:v>
                </c:pt>
                <c:pt idx="48">
                  <c:v>101.80787398223285</c:v>
                </c:pt>
                <c:pt idx="49">
                  <c:v>97.590936988865167</c:v>
                </c:pt>
                <c:pt idx="50">
                  <c:v>93.515022023072476</c:v>
                </c:pt>
                <c:pt idx="51">
                  <c:v>89.594753283940776</c:v>
                </c:pt>
                <c:pt idx="52">
                  <c:v>85.824451728550372</c:v>
                </c:pt>
                <c:pt idx="53">
                  <c:v>82.195298457397286</c:v>
                </c:pt>
                <c:pt idx="54">
                  <c:v>78.714912256278268</c:v>
                </c:pt>
                <c:pt idx="55">
                  <c:v>75.37538784862717</c:v>
                </c:pt>
                <c:pt idx="56">
                  <c:v>72.177587969042648</c:v>
                </c:pt>
                <c:pt idx="57">
                  <c:v>69.109711021255109</c:v>
                </c:pt>
                <c:pt idx="58">
                  <c:v>66.177074471696614</c:v>
                </c:pt>
                <c:pt idx="59">
                  <c:v>63.391517367763754</c:v>
                </c:pt>
                <c:pt idx="60">
                  <c:v>60.731812195070923</c:v>
                </c:pt>
                <c:pt idx="61">
                  <c:v>58.182300329843116</c:v>
                </c:pt>
                <c:pt idx="62">
                  <c:v>55.758219873603515</c:v>
                </c:pt>
                <c:pt idx="63">
                  <c:v>53.445173473698944</c:v>
                </c:pt>
                <c:pt idx="64">
                  <c:v>51.241775134741772</c:v>
                </c:pt>
                <c:pt idx="65">
                  <c:v>49.146182420354862</c:v>
                </c:pt>
                <c:pt idx="66">
                  <c:v>47.150010576976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7.14190286792154</c:v>
                </c:pt>
                <c:pt idx="27">
                  <c:v>228.41320319795642</c:v>
                </c:pt>
                <c:pt idx="28">
                  <c:v>220.2731189793563</c:v>
                </c:pt>
                <c:pt idx="29">
                  <c:v>212.67451273558385</c:v>
                </c:pt>
                <c:pt idx="30">
                  <c:v>205.77419117090744</c:v>
                </c:pt>
                <c:pt idx="31">
                  <c:v>199.67366929652246</c:v>
                </c:pt>
                <c:pt idx="32">
                  <c:v>194.15755548357973</c:v>
                </c:pt>
                <c:pt idx="33">
                  <c:v>188.89312429953054</c:v>
                </c:pt>
                <c:pt idx="34">
                  <c:v>183.88419673836339</c:v>
                </c:pt>
                <c:pt idx="35">
                  <c:v>179.21565393765309</c:v>
                </c:pt>
                <c:pt idx="36">
                  <c:v>174.86877905143183</c:v>
                </c:pt>
                <c:pt idx="37">
                  <c:v>170.81346611865129</c:v>
                </c:pt>
                <c:pt idx="38">
                  <c:v>167.07276485002578</c:v>
                </c:pt>
                <c:pt idx="39">
                  <c:v>163.41872770407724</c:v>
                </c:pt>
                <c:pt idx="40">
                  <c:v>159.69556429293252</c:v>
                </c:pt>
                <c:pt idx="41">
                  <c:v>156.00040738796827</c:v>
                </c:pt>
                <c:pt idx="42">
                  <c:v>152.38751484548297</c:v>
                </c:pt>
                <c:pt idx="43">
                  <c:v>148.86855771471585</c:v>
                </c:pt>
                <c:pt idx="44">
                  <c:v>145.42939418809488</c:v>
                </c:pt>
                <c:pt idx="45">
                  <c:v>142.07365339716642</c:v>
                </c:pt>
                <c:pt idx="46">
                  <c:v>138.73856115857853</c:v>
                </c:pt>
                <c:pt idx="47">
                  <c:v>135.42850887414758</c:v>
                </c:pt>
                <c:pt idx="48">
                  <c:v>132.16964036857254</c:v>
                </c:pt>
                <c:pt idx="49">
                  <c:v>128.95165193479272</c:v>
                </c:pt>
                <c:pt idx="50">
                  <c:v>125.78499319885407</c:v>
                </c:pt>
                <c:pt idx="51">
                  <c:v>122.68784241492564</c:v>
                </c:pt>
                <c:pt idx="52">
                  <c:v>119.65539816238439</c:v>
                </c:pt>
                <c:pt idx="53">
                  <c:v>116.67999002365615</c:v>
                </c:pt>
                <c:pt idx="54">
                  <c:v>113.77094556868856</c:v>
                </c:pt>
                <c:pt idx="55">
                  <c:v>110.92525726518511</c:v>
                </c:pt>
                <c:pt idx="56">
                  <c:v>108.14693088428565</c:v>
                </c:pt>
                <c:pt idx="57">
                  <c:v>105.42897147961824</c:v>
                </c:pt>
                <c:pt idx="58">
                  <c:v>102.77873105650067</c:v>
                </c:pt>
                <c:pt idx="59">
                  <c:v>100.21262272825714</c:v>
                </c:pt>
                <c:pt idx="60">
                  <c:v>97.711676065351085</c:v>
                </c:pt>
                <c:pt idx="61">
                  <c:v>95.267204527682622</c:v>
                </c:pt>
                <c:pt idx="62">
                  <c:v>92.893704148850247</c:v>
                </c:pt>
                <c:pt idx="63">
                  <c:v>90.583049842584416</c:v>
                </c:pt>
                <c:pt idx="64">
                  <c:v>88.335653901405578</c:v>
                </c:pt>
                <c:pt idx="65">
                  <c:v>86.153276622731681</c:v>
                </c:pt>
                <c:pt idx="66">
                  <c:v>84.0283779371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7.51446822860876</c:v>
                </c:pt>
                <c:pt idx="27">
                  <c:v>229.4346335256746</c:v>
                </c:pt>
                <c:pt idx="28">
                  <c:v>222.1093016579004</c:v>
                </c:pt>
                <c:pt idx="29">
                  <c:v>215.41919229639726</c:v>
                </c:pt>
                <c:pt idx="30">
                  <c:v>209.565976184476</c:v>
                </c:pt>
                <c:pt idx="31">
                  <c:v>204.68853573074381</c:v>
                </c:pt>
                <c:pt idx="32">
                  <c:v>200.59417770658035</c:v>
                </c:pt>
                <c:pt idx="33">
                  <c:v>196.95286504178605</c:v>
                </c:pt>
                <c:pt idx="34">
                  <c:v>193.69101075507785</c:v>
                </c:pt>
                <c:pt idx="35">
                  <c:v>190.85062568085348</c:v>
                </c:pt>
                <c:pt idx="36">
                  <c:v>188.41100290600107</c:v>
                </c:pt>
                <c:pt idx="37">
                  <c:v>186.36110092624824</c:v>
                </c:pt>
                <c:pt idx="38">
                  <c:v>184.70950193256769</c:v>
                </c:pt>
                <c:pt idx="39">
                  <c:v>183.20333367055218</c:v>
                </c:pt>
                <c:pt idx="40">
                  <c:v>181.66178818385444</c:v>
                </c:pt>
                <c:pt idx="41">
                  <c:v>180.14996377623791</c:v>
                </c:pt>
                <c:pt idx="42">
                  <c:v>178.70966034450231</c:v>
                </c:pt>
                <c:pt idx="43">
                  <c:v>177.35821496716653</c:v>
                </c:pt>
                <c:pt idx="44">
                  <c:v>176.08278067998151</c:v>
                </c:pt>
                <c:pt idx="45">
                  <c:v>174.87128729971272</c:v>
                </c:pt>
                <c:pt idx="46">
                  <c:v>173.63964778785089</c:v>
                </c:pt>
                <c:pt idx="47">
                  <c:v>172.38456918922031</c:v>
                </c:pt>
                <c:pt idx="48">
                  <c:v>171.13419874693273</c:v>
                </c:pt>
                <c:pt idx="49">
                  <c:v>169.87194910898251</c:v>
                </c:pt>
                <c:pt idx="50">
                  <c:v>168.61222163687802</c:v>
                </c:pt>
                <c:pt idx="51">
                  <c:v>167.36617386175314</c:v>
                </c:pt>
                <c:pt idx="52">
                  <c:v>166.12754755051839</c:v>
                </c:pt>
                <c:pt idx="53">
                  <c:v>164.88417147006868</c:v>
                </c:pt>
                <c:pt idx="54">
                  <c:v>163.64412156498338</c:v>
                </c:pt>
                <c:pt idx="55">
                  <c:v>162.41222269998471</c:v>
                </c:pt>
                <c:pt idx="56">
                  <c:v>161.18862002248829</c:v>
                </c:pt>
                <c:pt idx="57">
                  <c:v>159.96544668221094</c:v>
                </c:pt>
                <c:pt idx="58">
                  <c:v>158.75485156420325</c:v>
                </c:pt>
                <c:pt idx="59">
                  <c:v>157.56526687929306</c:v>
                </c:pt>
                <c:pt idx="60">
                  <c:v>156.38516473474121</c:v>
                </c:pt>
                <c:pt idx="61">
                  <c:v>155.20456867830856</c:v>
                </c:pt>
                <c:pt idx="62">
                  <c:v>154.04034169192309</c:v>
                </c:pt>
                <c:pt idx="63">
                  <c:v>152.88449250516129</c:v>
                </c:pt>
                <c:pt idx="64">
                  <c:v>151.73755293907016</c:v>
                </c:pt>
                <c:pt idx="65">
                  <c:v>150.6068699171542</c:v>
                </c:pt>
                <c:pt idx="66">
                  <c:v>149.48289872606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8.07473827483301</c:v>
                </c:pt>
                <c:pt idx="27">
                  <c:v>230.9713071963746</c:v>
                </c:pt>
                <c:pt idx="28">
                  <c:v>224.87011390887903</c:v>
                </c:pt>
                <c:pt idx="29">
                  <c:v>219.54317747861086</c:v>
                </c:pt>
                <c:pt idx="30">
                  <c:v>215.29918093430666</c:v>
                </c:pt>
                <c:pt idx="31">
                  <c:v>212.35597938707809</c:v>
                </c:pt>
                <c:pt idx="32">
                  <c:v>210.56808153519989</c:v>
                </c:pt>
                <c:pt idx="33">
                  <c:v>209.62130049512535</c:v>
                </c:pt>
                <c:pt idx="34">
                  <c:v>209.31335530865394</c:v>
                </c:pt>
                <c:pt idx="35">
                  <c:v>209.63316047073428</c:v>
                </c:pt>
                <c:pt idx="36">
                  <c:v>210.57233246287063</c:v>
                </c:pt>
                <c:pt idx="37">
                  <c:v>212.17916795405887</c:v>
                </c:pt>
                <c:pt idx="38">
                  <c:v>214.46019975776693</c:v>
                </c:pt>
                <c:pt idx="39">
                  <c:v>217.1224932512215</c:v>
                </c:pt>
                <c:pt idx="40">
                  <c:v>219.93179995651457</c:v>
                </c:pt>
                <c:pt idx="41">
                  <c:v>222.91476733294701</c:v>
                </c:pt>
                <c:pt idx="42">
                  <c:v>226.12101996623244</c:v>
                </c:pt>
                <c:pt idx="43">
                  <c:v>229.58689733834868</c:v>
                </c:pt>
                <c:pt idx="44">
                  <c:v>233.29971066330307</c:v>
                </c:pt>
                <c:pt idx="45">
                  <c:v>237.2170830575306</c:v>
                </c:pt>
                <c:pt idx="46">
                  <c:v>241.23034586784337</c:v>
                </c:pt>
                <c:pt idx="47">
                  <c:v>245.31930470717376</c:v>
                </c:pt>
                <c:pt idx="48">
                  <c:v>249.51624237873648</c:v>
                </c:pt>
                <c:pt idx="49">
                  <c:v>253.81833316176517</c:v>
                </c:pt>
                <c:pt idx="50">
                  <c:v>258.23537351855964</c:v>
                </c:pt>
                <c:pt idx="51">
                  <c:v>262.76779693766355</c:v>
                </c:pt>
                <c:pt idx="52">
                  <c:v>267.39295636072768</c:v>
                </c:pt>
                <c:pt idx="53">
                  <c:v>272.09791406691158</c:v>
                </c:pt>
                <c:pt idx="54">
                  <c:v>276.89759005210283</c:v>
                </c:pt>
                <c:pt idx="55">
                  <c:v>281.7998237466519</c:v>
                </c:pt>
                <c:pt idx="56">
                  <c:v>286.80472333182161</c:v>
                </c:pt>
                <c:pt idx="57">
                  <c:v>291.89940669230219</c:v>
                </c:pt>
                <c:pt idx="58">
                  <c:v>297.08959451107313</c:v>
                </c:pt>
                <c:pt idx="59">
                  <c:v>302.392344699067</c:v>
                </c:pt>
                <c:pt idx="60">
                  <c:v>307.79458365725503</c:v>
                </c:pt>
                <c:pt idx="61">
                  <c:v>313.2881394812764</c:v>
                </c:pt>
                <c:pt idx="62">
                  <c:v>318.89187246086635</c:v>
                </c:pt>
                <c:pt idx="63">
                  <c:v>324.59660039999227</c:v>
                </c:pt>
                <c:pt idx="64">
                  <c:v>330.40414843212596</c:v>
                </c:pt>
                <c:pt idx="65">
                  <c:v>336.32117357047531</c:v>
                </c:pt>
                <c:pt idx="66">
                  <c:v>342.3428683507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69</c:v>
                </c:pt>
                <c:pt idx="2">
                  <c:v>377</c:v>
                </c:pt>
                <c:pt idx="3">
                  <c:v>414</c:v>
                </c:pt>
                <c:pt idx="4">
                  <c:v>425</c:v>
                </c:pt>
                <c:pt idx="5">
                  <c:v>431</c:v>
                </c:pt>
                <c:pt idx="6">
                  <c:v>407</c:v>
                </c:pt>
                <c:pt idx="7">
                  <c:v>385</c:v>
                </c:pt>
                <c:pt idx="8">
                  <c:v>377</c:v>
                </c:pt>
                <c:pt idx="9">
                  <c:v>351</c:v>
                </c:pt>
                <c:pt idx="10">
                  <c:v>342</c:v>
                </c:pt>
                <c:pt idx="11">
                  <c:v>356</c:v>
                </c:pt>
                <c:pt idx="12">
                  <c:v>361</c:v>
                </c:pt>
                <c:pt idx="13">
                  <c:v>360</c:v>
                </c:pt>
                <c:pt idx="14">
                  <c:v>363</c:v>
                </c:pt>
                <c:pt idx="15">
                  <c:v>360</c:v>
                </c:pt>
                <c:pt idx="16">
                  <c:v>357</c:v>
                </c:pt>
                <c:pt idx="17">
                  <c:v>365</c:v>
                </c:pt>
                <c:pt idx="18">
                  <c:v>385</c:v>
                </c:pt>
                <c:pt idx="19">
                  <c:v>377</c:v>
                </c:pt>
                <c:pt idx="20">
                  <c:v>381</c:v>
                </c:pt>
                <c:pt idx="21">
                  <c:v>372</c:v>
                </c:pt>
                <c:pt idx="22">
                  <c:v>360</c:v>
                </c:pt>
                <c:pt idx="23">
                  <c:v>328</c:v>
                </c:pt>
                <c:pt idx="24">
                  <c:v>330</c:v>
                </c:pt>
                <c:pt idx="25">
                  <c:v>347</c:v>
                </c:pt>
                <c:pt idx="26">
                  <c:v>340</c:v>
                </c:pt>
                <c:pt idx="27">
                  <c:v>331</c:v>
                </c:pt>
                <c:pt idx="28">
                  <c:v>302</c:v>
                </c:pt>
                <c:pt idx="29">
                  <c:v>282</c:v>
                </c:pt>
                <c:pt idx="30">
                  <c:v>273</c:v>
                </c:pt>
                <c:pt idx="31">
                  <c:v>271</c:v>
                </c:pt>
                <c:pt idx="32">
                  <c:v>288</c:v>
                </c:pt>
                <c:pt idx="33">
                  <c:v>280</c:v>
                </c:pt>
                <c:pt idx="34">
                  <c:v>248</c:v>
                </c:pt>
                <c:pt idx="35">
                  <c:v>245</c:v>
                </c:pt>
                <c:pt idx="36">
                  <c:v>230</c:v>
                </c:pt>
                <c:pt idx="37">
                  <c:v>212</c:v>
                </c:pt>
                <c:pt idx="38">
                  <c:v>217</c:v>
                </c:pt>
                <c:pt idx="39">
                  <c:v>237</c:v>
                </c:pt>
                <c:pt idx="40">
                  <c:v>212</c:v>
                </c:pt>
                <c:pt idx="41">
                  <c:v>206</c:v>
                </c:pt>
                <c:pt idx="42">
                  <c:v>199</c:v>
                </c:pt>
                <c:pt idx="43">
                  <c:v>184</c:v>
                </c:pt>
                <c:pt idx="44">
                  <c:v>172</c:v>
                </c:pt>
                <c:pt idx="45">
                  <c:v>169</c:v>
                </c:pt>
                <c:pt idx="46">
                  <c:v>174</c:v>
                </c:pt>
                <c:pt idx="47">
                  <c:v>159</c:v>
                </c:pt>
                <c:pt idx="48">
                  <c:v>154</c:v>
                </c:pt>
                <c:pt idx="49">
                  <c:v>142</c:v>
                </c:pt>
                <c:pt idx="50">
                  <c:v>147</c:v>
                </c:pt>
                <c:pt idx="51">
                  <c:v>140</c:v>
                </c:pt>
                <c:pt idx="52">
                  <c:v>134</c:v>
                </c:pt>
                <c:pt idx="53">
                  <c:v>137</c:v>
                </c:pt>
                <c:pt idx="54">
                  <c:v>126</c:v>
                </c:pt>
                <c:pt idx="55">
                  <c:v>120</c:v>
                </c:pt>
                <c:pt idx="56">
                  <c:v>113</c:v>
                </c:pt>
                <c:pt idx="57">
                  <c:v>10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40.61036850049783</c:v>
                </c:pt>
                <c:pt idx="27">
                  <c:v>327.14522135470975</c:v>
                </c:pt>
                <c:pt idx="28">
                  <c:v>314.28928510824431</c:v>
                </c:pt>
                <c:pt idx="29">
                  <c:v>302.0823931412458</c:v>
                </c:pt>
                <c:pt idx="30">
                  <c:v>290.70437415401727</c:v>
                </c:pt>
                <c:pt idx="31">
                  <c:v>280.25632452307769</c:v>
                </c:pt>
                <c:pt idx="32">
                  <c:v>270.41590985466314</c:v>
                </c:pt>
                <c:pt idx="33">
                  <c:v>260.70573287006289</c:v>
                </c:pt>
                <c:pt idx="34">
                  <c:v>251.23387170742666</c:v>
                </c:pt>
                <c:pt idx="35">
                  <c:v>242.17922209551074</c:v>
                </c:pt>
                <c:pt idx="36">
                  <c:v>233.54845745444641</c:v>
                </c:pt>
                <c:pt idx="37">
                  <c:v>225.29529451714691</c:v>
                </c:pt>
                <c:pt idx="38">
                  <c:v>217.46589706823815</c:v>
                </c:pt>
                <c:pt idx="39">
                  <c:v>209.76248973651832</c:v>
                </c:pt>
                <c:pt idx="40">
                  <c:v>202.00221435972938</c:v>
                </c:pt>
                <c:pt idx="41">
                  <c:v>194.36757536798248</c:v>
                </c:pt>
                <c:pt idx="42">
                  <c:v>186.93532803807275</c:v>
                </c:pt>
                <c:pt idx="43">
                  <c:v>179.73403045520064</c:v>
                </c:pt>
                <c:pt idx="44">
                  <c:v>172.74923595320331</c:v>
                </c:pt>
                <c:pt idx="45">
                  <c:v>165.99675781919223</c:v>
                </c:pt>
                <c:pt idx="46">
                  <c:v>159.39174858621502</c:v>
                </c:pt>
                <c:pt idx="47">
                  <c:v>152.9478723478851</c:v>
                </c:pt>
                <c:pt idx="48">
                  <c:v>146.71533854986382</c:v>
                </c:pt>
                <c:pt idx="49">
                  <c:v>140.66679254786942</c:v>
                </c:pt>
                <c:pt idx="50">
                  <c:v>134.82124093838149</c:v>
                </c:pt>
                <c:pt idx="51">
                  <c:v>129.19985221821551</c:v>
                </c:pt>
                <c:pt idx="52">
                  <c:v>123.79322193619427</c:v>
                </c:pt>
                <c:pt idx="53">
                  <c:v>118.59132870458484</c:v>
                </c:pt>
                <c:pt idx="54">
                  <c:v>113.60333283183215</c:v>
                </c:pt>
                <c:pt idx="55">
                  <c:v>108.81688544480198</c:v>
                </c:pt>
                <c:pt idx="56">
                  <c:v>104.23355884316483</c:v>
                </c:pt>
                <c:pt idx="57">
                  <c:v>99.836283487957871</c:v>
                </c:pt>
                <c:pt idx="58">
                  <c:v>95.634142670923353</c:v>
                </c:pt>
                <c:pt idx="59">
                  <c:v>91.642413306619929</c:v>
                </c:pt>
                <c:pt idx="60">
                  <c:v>87.82991880571069</c:v>
                </c:pt>
                <c:pt idx="61">
                  <c:v>84.17770221214991</c:v>
                </c:pt>
                <c:pt idx="62">
                  <c:v>80.704635338037519</c:v>
                </c:pt>
                <c:pt idx="63">
                  <c:v>77.389974199703062</c:v>
                </c:pt>
                <c:pt idx="64">
                  <c:v>74.233254707930229</c:v>
                </c:pt>
                <c:pt idx="65">
                  <c:v>71.229989419812341</c:v>
                </c:pt>
                <c:pt idx="66">
                  <c:v>68.36926183533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41.15234012077639</c:v>
                </c:pt>
                <c:pt idx="27">
                  <c:v>328.62452714921636</c:v>
                </c:pt>
                <c:pt idx="28">
                  <c:v>316.9439763576562</c:v>
                </c:pt>
                <c:pt idx="29">
                  <c:v>306.04651917079428</c:v>
                </c:pt>
                <c:pt idx="30">
                  <c:v>296.15175257492081</c:v>
                </c:pt>
                <c:pt idx="31">
                  <c:v>287.39331747827288</c:v>
                </c:pt>
                <c:pt idx="32">
                  <c:v>279.46503275854514</c:v>
                </c:pt>
                <c:pt idx="33">
                  <c:v>271.88952802471658</c:v>
                </c:pt>
                <c:pt idx="34">
                  <c:v>264.67420270337777</c:v>
                </c:pt>
                <c:pt idx="35">
                  <c:v>257.94190044741714</c:v>
                </c:pt>
                <c:pt idx="36">
                  <c:v>251.67303659274816</c:v>
                </c:pt>
                <c:pt idx="37">
                  <c:v>245.82894258503774</c:v>
                </c:pt>
                <c:pt idx="38">
                  <c:v>240.4409942501772</c:v>
                </c:pt>
                <c:pt idx="39">
                  <c:v>235.1825217609865</c:v>
                </c:pt>
                <c:pt idx="40">
                  <c:v>229.8259434203712</c:v>
                </c:pt>
                <c:pt idx="41">
                  <c:v>224.51294650430091</c:v>
                </c:pt>
                <c:pt idx="42">
                  <c:v>219.31437495466403</c:v>
                </c:pt>
                <c:pt idx="43">
                  <c:v>214.25588261835321</c:v>
                </c:pt>
                <c:pt idx="44">
                  <c:v>209.31470214641445</c:v>
                </c:pt>
                <c:pt idx="45">
                  <c:v>204.49506795734303</c:v>
                </c:pt>
                <c:pt idx="46">
                  <c:v>199.70826205765292</c:v>
                </c:pt>
                <c:pt idx="47">
                  <c:v>194.95792703567827</c:v>
                </c:pt>
                <c:pt idx="48">
                  <c:v>190.2812150091267</c:v>
                </c:pt>
                <c:pt idx="49">
                  <c:v>185.66311313904416</c:v>
                </c:pt>
                <c:pt idx="50">
                  <c:v>181.11944678631963</c:v>
                </c:pt>
                <c:pt idx="51">
                  <c:v>176.67650806171048</c:v>
                </c:pt>
                <c:pt idx="52">
                  <c:v>172.32613308060726</c:v>
                </c:pt>
                <c:pt idx="53">
                  <c:v>168.05994329786864</c:v>
                </c:pt>
                <c:pt idx="54">
                  <c:v>163.88954025960328</c:v>
                </c:pt>
                <c:pt idx="55">
                  <c:v>159.80962789756586</c:v>
                </c:pt>
                <c:pt idx="56">
                  <c:v>155.82628142066147</c:v>
                </c:pt>
                <c:pt idx="57">
                  <c:v>151.92933097541197</c:v>
                </c:pt>
                <c:pt idx="58">
                  <c:v>148.13075739784497</c:v>
                </c:pt>
                <c:pt idx="59">
                  <c:v>144.45242291690235</c:v>
                </c:pt>
                <c:pt idx="60">
                  <c:v>140.8663697673249</c:v>
                </c:pt>
                <c:pt idx="61">
                  <c:v>137.36365465114559</c:v>
                </c:pt>
                <c:pt idx="62">
                  <c:v>133.9620387157841</c:v>
                </c:pt>
                <c:pt idx="63">
                  <c:v>130.64977943503152</c:v>
                </c:pt>
                <c:pt idx="64">
                  <c:v>127.42898463944144</c:v>
                </c:pt>
                <c:pt idx="65">
                  <c:v>124.30034855494715</c:v>
                </c:pt>
                <c:pt idx="66">
                  <c:v>121.254138885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41.69020589544675</c:v>
                </c:pt>
                <c:pt idx="27">
                  <c:v>330.09897147940143</c:v>
                </c:pt>
                <c:pt idx="28">
                  <c:v>319.59362797036317</c:v>
                </c:pt>
                <c:pt idx="29">
                  <c:v>310.00550146729501</c:v>
                </c:pt>
                <c:pt idx="30">
                  <c:v>301.61855018270631</c:v>
                </c:pt>
                <c:pt idx="31">
                  <c:v>294.61992237144693</c:v>
                </c:pt>
                <c:pt idx="32">
                  <c:v>288.73597647762983</c:v>
                </c:pt>
                <c:pt idx="33">
                  <c:v>283.49304900257675</c:v>
                </c:pt>
                <c:pt idx="34">
                  <c:v>278.78695648293285</c:v>
                </c:pt>
                <c:pt idx="35">
                  <c:v>274.67885174738171</c:v>
                </c:pt>
                <c:pt idx="36">
                  <c:v>271.14670492819346</c:v>
                </c:pt>
                <c:pt idx="37">
                  <c:v>268.17967110498682</c:v>
                </c:pt>
                <c:pt idx="38">
                  <c:v>265.78850362485935</c:v>
                </c:pt>
                <c:pt idx="39">
                  <c:v>263.61075839301907</c:v>
                </c:pt>
                <c:pt idx="40">
                  <c:v>261.38292184455304</c:v>
                </c:pt>
                <c:pt idx="41">
                  <c:v>259.20063163152031</c:v>
                </c:pt>
                <c:pt idx="42">
                  <c:v>257.11695283591996</c:v>
                </c:pt>
                <c:pt idx="43">
                  <c:v>255.16592878276967</c:v>
                </c:pt>
                <c:pt idx="44">
                  <c:v>253.32682809200747</c:v>
                </c:pt>
                <c:pt idx="45">
                  <c:v>251.58135409759248</c:v>
                </c:pt>
                <c:pt idx="46">
                  <c:v>249.81004543913156</c:v>
                </c:pt>
                <c:pt idx="47">
                  <c:v>248.00553971102161</c:v>
                </c:pt>
                <c:pt idx="48">
                  <c:v>246.20792740071172</c:v>
                </c:pt>
                <c:pt idx="49">
                  <c:v>244.39319939636187</c:v>
                </c:pt>
                <c:pt idx="50">
                  <c:v>242.58293975064589</c:v>
                </c:pt>
                <c:pt idx="51">
                  <c:v>240.79335015538837</c:v>
                </c:pt>
                <c:pt idx="52">
                  <c:v>239.01416308005008</c:v>
                </c:pt>
                <c:pt idx="53">
                  <c:v>237.23053173832011</c:v>
                </c:pt>
                <c:pt idx="54">
                  <c:v>235.45226310634206</c:v>
                </c:pt>
                <c:pt idx="55">
                  <c:v>233.68538383150138</c:v>
                </c:pt>
                <c:pt idx="56">
                  <c:v>231.93039841150369</c:v>
                </c:pt>
                <c:pt idx="57">
                  <c:v>230.17585632267995</c:v>
                </c:pt>
                <c:pt idx="58">
                  <c:v>228.44066221114076</c:v>
                </c:pt>
                <c:pt idx="59">
                  <c:v>226.73516293128003</c:v>
                </c:pt>
                <c:pt idx="60">
                  <c:v>225.0421324624914</c:v>
                </c:pt>
                <c:pt idx="61">
                  <c:v>223.35075205086466</c:v>
                </c:pt>
                <c:pt idx="62">
                  <c:v>221.6821803594724</c:v>
                </c:pt>
                <c:pt idx="63">
                  <c:v>220.02484825319021</c:v>
                </c:pt>
                <c:pt idx="64">
                  <c:v>218.38103574157151</c:v>
                </c:pt>
                <c:pt idx="65">
                  <c:v>216.75950777820299</c:v>
                </c:pt>
                <c:pt idx="66">
                  <c:v>215.14763055764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42.49905748025628</c:v>
                </c:pt>
                <c:pt idx="27">
                  <c:v>332.31717455244791</c:v>
                </c:pt>
                <c:pt idx="28">
                  <c:v>323.57753959490162</c:v>
                </c:pt>
                <c:pt idx="29">
                  <c:v>315.95401714743537</c:v>
                </c:pt>
                <c:pt idx="30">
                  <c:v>309.88444700487838</c:v>
                </c:pt>
                <c:pt idx="31">
                  <c:v>305.6693124039453</c:v>
                </c:pt>
                <c:pt idx="32">
                  <c:v>303.10268662733461</c:v>
                </c:pt>
                <c:pt idx="33">
                  <c:v>301.73341810704949</c:v>
                </c:pt>
                <c:pt idx="34">
                  <c:v>301.27163560014594</c:v>
                </c:pt>
                <c:pt idx="35">
                  <c:v>301.70195485421141</c:v>
                </c:pt>
                <c:pt idx="36">
                  <c:v>303.02061871337952</c:v>
                </c:pt>
                <c:pt idx="37">
                  <c:v>305.30271894474271</c:v>
                </c:pt>
                <c:pt idx="38">
                  <c:v>308.55629503617058</c:v>
                </c:pt>
                <c:pt idx="39">
                  <c:v>312.36123571232474</c:v>
                </c:pt>
                <c:pt idx="40">
                  <c:v>316.37703628415818</c:v>
                </c:pt>
                <c:pt idx="41">
                  <c:v>320.64404587561717</c:v>
                </c:pt>
                <c:pt idx="42">
                  <c:v>325.22687383021719</c:v>
                </c:pt>
                <c:pt idx="43">
                  <c:v>330.18724129318741</c:v>
                </c:pt>
                <c:pt idx="44">
                  <c:v>335.50480977697532</c:v>
                </c:pt>
                <c:pt idx="45">
                  <c:v>341.11767495885704</c:v>
                </c:pt>
                <c:pt idx="46">
                  <c:v>346.870888557988</c:v>
                </c:pt>
                <c:pt idx="47">
                  <c:v>352.73280036997528</c:v>
                </c:pt>
                <c:pt idx="48">
                  <c:v>358.7495193367954</c:v>
                </c:pt>
                <c:pt idx="49">
                  <c:v>364.91701941144481</c:v>
                </c:pt>
                <c:pt idx="50">
                  <c:v>371.25030649153348</c:v>
                </c:pt>
                <c:pt idx="51">
                  <c:v>377.7501397487988</c:v>
                </c:pt>
                <c:pt idx="52">
                  <c:v>384.38259570660665</c:v>
                </c:pt>
                <c:pt idx="53">
                  <c:v>391.13175761954238</c:v>
                </c:pt>
                <c:pt idx="54">
                  <c:v>398.01735273675922</c:v>
                </c:pt>
                <c:pt idx="55">
                  <c:v>405.04978769239216</c:v>
                </c:pt>
                <c:pt idx="56">
                  <c:v>412.22951784652025</c:v>
                </c:pt>
                <c:pt idx="57">
                  <c:v>419.53784489636405</c:v>
                </c:pt>
                <c:pt idx="58">
                  <c:v>426.98438691312526</c:v>
                </c:pt>
                <c:pt idx="59">
                  <c:v>434.59197769429119</c:v>
                </c:pt>
                <c:pt idx="60">
                  <c:v>442.34116241001067</c:v>
                </c:pt>
                <c:pt idx="61">
                  <c:v>450.22369420277164</c:v>
                </c:pt>
                <c:pt idx="62">
                  <c:v>458.26360616969237</c:v>
                </c:pt>
                <c:pt idx="63">
                  <c:v>466.44757526946029</c:v>
                </c:pt>
                <c:pt idx="64">
                  <c:v>474.77974685070097</c:v>
                </c:pt>
                <c:pt idx="65">
                  <c:v>483.26790778251325</c:v>
                </c:pt>
                <c:pt idx="66">
                  <c:v>491.9062474626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5</c:v>
                </c:pt>
                <c:pt idx="1">
                  <c:v>745</c:v>
                </c:pt>
                <c:pt idx="2">
                  <c:v>737</c:v>
                </c:pt>
                <c:pt idx="3">
                  <c:v>759</c:v>
                </c:pt>
                <c:pt idx="4">
                  <c:v>763</c:v>
                </c:pt>
                <c:pt idx="5">
                  <c:v>890</c:v>
                </c:pt>
                <c:pt idx="6">
                  <c:v>858</c:v>
                </c:pt>
                <c:pt idx="7">
                  <c:v>791</c:v>
                </c:pt>
                <c:pt idx="8">
                  <c:v>744</c:v>
                </c:pt>
                <c:pt idx="9">
                  <c:v>675</c:v>
                </c:pt>
                <c:pt idx="10">
                  <c:v>681</c:v>
                </c:pt>
                <c:pt idx="11">
                  <c:v>730</c:v>
                </c:pt>
                <c:pt idx="12">
                  <c:v>722</c:v>
                </c:pt>
                <c:pt idx="13">
                  <c:v>677</c:v>
                </c:pt>
                <c:pt idx="14">
                  <c:v>650</c:v>
                </c:pt>
                <c:pt idx="15">
                  <c:v>597</c:v>
                </c:pt>
                <c:pt idx="16">
                  <c:v>537</c:v>
                </c:pt>
                <c:pt idx="17">
                  <c:v>547</c:v>
                </c:pt>
                <c:pt idx="18">
                  <c:v>594</c:v>
                </c:pt>
                <c:pt idx="19">
                  <c:v>597</c:v>
                </c:pt>
                <c:pt idx="20">
                  <c:v>559</c:v>
                </c:pt>
                <c:pt idx="21">
                  <c:v>521</c:v>
                </c:pt>
                <c:pt idx="22">
                  <c:v>492</c:v>
                </c:pt>
                <c:pt idx="23">
                  <c:v>439</c:v>
                </c:pt>
                <c:pt idx="24">
                  <c:v>449</c:v>
                </c:pt>
                <c:pt idx="25">
                  <c:v>460</c:v>
                </c:pt>
                <c:pt idx="26">
                  <c:v>439</c:v>
                </c:pt>
                <c:pt idx="27">
                  <c:v>422</c:v>
                </c:pt>
                <c:pt idx="28">
                  <c:v>430</c:v>
                </c:pt>
                <c:pt idx="29">
                  <c:v>392</c:v>
                </c:pt>
                <c:pt idx="30">
                  <c:v>368</c:v>
                </c:pt>
                <c:pt idx="31">
                  <c:v>367</c:v>
                </c:pt>
                <c:pt idx="32">
                  <c:v>415</c:v>
                </c:pt>
                <c:pt idx="33">
                  <c:v>400</c:v>
                </c:pt>
                <c:pt idx="34">
                  <c:v>379</c:v>
                </c:pt>
                <c:pt idx="35">
                  <c:v>363</c:v>
                </c:pt>
                <c:pt idx="36">
                  <c:v>343</c:v>
                </c:pt>
                <c:pt idx="37">
                  <c:v>312</c:v>
                </c:pt>
                <c:pt idx="38">
                  <c:v>305</c:v>
                </c:pt>
                <c:pt idx="39">
                  <c:v>321</c:v>
                </c:pt>
                <c:pt idx="40">
                  <c:v>291</c:v>
                </c:pt>
                <c:pt idx="41">
                  <c:v>266</c:v>
                </c:pt>
                <c:pt idx="42">
                  <c:v>254</c:v>
                </c:pt>
                <c:pt idx="43">
                  <c:v>243</c:v>
                </c:pt>
                <c:pt idx="44">
                  <c:v>191</c:v>
                </c:pt>
                <c:pt idx="45">
                  <c:v>189</c:v>
                </c:pt>
                <c:pt idx="46">
                  <c:v>207</c:v>
                </c:pt>
                <c:pt idx="47">
                  <c:v>215</c:v>
                </c:pt>
                <c:pt idx="48">
                  <c:v>191</c:v>
                </c:pt>
                <c:pt idx="49">
                  <c:v>183</c:v>
                </c:pt>
                <c:pt idx="50">
                  <c:v>169</c:v>
                </c:pt>
                <c:pt idx="51">
                  <c:v>126</c:v>
                </c:pt>
                <c:pt idx="52">
                  <c:v>121</c:v>
                </c:pt>
                <c:pt idx="53">
                  <c:v>123</c:v>
                </c:pt>
                <c:pt idx="54">
                  <c:v>115</c:v>
                </c:pt>
                <c:pt idx="55">
                  <c:v>123</c:v>
                </c:pt>
                <c:pt idx="56">
                  <c:v>115</c:v>
                </c:pt>
                <c:pt idx="57">
                  <c:v>106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54.22801678001798</c:v>
                </c:pt>
                <c:pt idx="27">
                  <c:v>436.14855742473208</c:v>
                </c:pt>
                <c:pt idx="28">
                  <c:v>418.87914054497776</c:v>
                </c:pt>
                <c:pt idx="29">
                  <c:v>402.45239143206669</c:v>
                </c:pt>
                <c:pt idx="30">
                  <c:v>387.13500506180014</c:v>
                </c:pt>
                <c:pt idx="31">
                  <c:v>373.11862903193537</c:v>
                </c:pt>
                <c:pt idx="32">
                  <c:v>359.95549528577476</c:v>
                </c:pt>
                <c:pt idx="33">
                  <c:v>347.00238112948381</c:v>
                </c:pt>
                <c:pt idx="34">
                  <c:v>334.39399984578432</c:v>
                </c:pt>
                <c:pt idx="35">
                  <c:v>322.36591462700892</c:v>
                </c:pt>
                <c:pt idx="36">
                  <c:v>310.89445655755264</c:v>
                </c:pt>
                <c:pt idx="37">
                  <c:v>299.89797772566453</c:v>
                </c:pt>
                <c:pt idx="38">
                  <c:v>289.44778821705768</c:v>
                </c:pt>
                <c:pt idx="39">
                  <c:v>279.14164618793041</c:v>
                </c:pt>
                <c:pt idx="40">
                  <c:v>268.75219966527112</c:v>
                </c:pt>
                <c:pt idx="41">
                  <c:v>258.51395282449448</c:v>
                </c:pt>
                <c:pt idx="42">
                  <c:v>248.56410249685635</c:v>
                </c:pt>
                <c:pt idx="43">
                  <c:v>238.89994737329448</c:v>
                </c:pt>
                <c:pt idx="44">
                  <c:v>229.5141905583277</c:v>
                </c:pt>
                <c:pt idx="45">
                  <c:v>220.43297568003422</c:v>
                </c:pt>
                <c:pt idx="46">
                  <c:v>211.53566802627125</c:v>
                </c:pt>
                <c:pt idx="47">
                  <c:v>202.85316174129824</c:v>
                </c:pt>
                <c:pt idx="48">
                  <c:v>194.45432453461171</c:v>
                </c:pt>
                <c:pt idx="49">
                  <c:v>186.30394828414279</c:v>
                </c:pt>
                <c:pt idx="50">
                  <c:v>178.42370920114712</c:v>
                </c:pt>
                <c:pt idx="51">
                  <c:v>170.84122442711796</c:v>
                </c:pt>
                <c:pt idx="52">
                  <c:v>163.54975908114841</c:v>
                </c:pt>
                <c:pt idx="53">
                  <c:v>156.52341313371329</c:v>
                </c:pt>
                <c:pt idx="54">
                  <c:v>149.78286823091963</c:v>
                </c:pt>
                <c:pt idx="55">
                  <c:v>143.31624845260606</c:v>
                </c:pt>
                <c:pt idx="56">
                  <c:v>137.12409300103599</c:v>
                </c:pt>
                <c:pt idx="57">
                  <c:v>131.18407045859996</c:v>
                </c:pt>
                <c:pt idx="58">
                  <c:v>125.50155148478106</c:v>
                </c:pt>
                <c:pt idx="59">
                  <c:v>120.10516126253606</c:v>
                </c:pt>
                <c:pt idx="60">
                  <c:v>114.9563282459025</c:v>
                </c:pt>
                <c:pt idx="61">
                  <c:v>110.01298453492518</c:v>
                </c:pt>
                <c:pt idx="62">
                  <c:v>105.31463971602538</c:v>
                </c:pt>
                <c:pt idx="63">
                  <c:v>100.8337810412348</c:v>
                </c:pt>
                <c:pt idx="64">
                  <c:v>96.562594783894156</c:v>
                </c:pt>
                <c:pt idx="65">
                  <c:v>92.503735957443098</c:v>
                </c:pt>
                <c:pt idx="66">
                  <c:v>88.637258065127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54.94178785322447</c:v>
                </c:pt>
                <c:pt idx="27">
                  <c:v>438.09761862070513</c:v>
                </c:pt>
                <c:pt idx="28">
                  <c:v>422.38105363982208</c:v>
                </c:pt>
                <c:pt idx="29">
                  <c:v>407.68938594621227</c:v>
                </c:pt>
                <c:pt idx="30">
                  <c:v>394.34360665907383</c:v>
                </c:pt>
                <c:pt idx="31">
                  <c:v>382.58024383985503</c:v>
                </c:pt>
                <c:pt idx="32">
                  <c:v>371.97367791774627</c:v>
                </c:pt>
                <c:pt idx="33">
                  <c:v>361.8812547268484</c:v>
                </c:pt>
                <c:pt idx="34">
                  <c:v>352.30389384440525</c:v>
                </c:pt>
                <c:pt idx="35">
                  <c:v>343.40196229903597</c:v>
                </c:pt>
                <c:pt idx="36">
                  <c:v>335.11481566768958</c:v>
                </c:pt>
                <c:pt idx="37">
                  <c:v>327.36905641586708</c:v>
                </c:pt>
                <c:pt idx="38">
                  <c:v>320.21491354851287</c:v>
                </c:pt>
                <c:pt idx="39">
                  <c:v>313.21085356848175</c:v>
                </c:pt>
                <c:pt idx="40">
                  <c:v>306.06966670085262</c:v>
                </c:pt>
                <c:pt idx="41">
                  <c:v>298.97111839950031</c:v>
                </c:pt>
                <c:pt idx="42">
                  <c:v>292.04359829615544</c:v>
                </c:pt>
                <c:pt idx="43">
                  <c:v>285.27962910739052</c:v>
                </c:pt>
                <c:pt idx="44">
                  <c:v>278.66024495048009</c:v>
                </c:pt>
                <c:pt idx="45">
                  <c:v>272.19573199893432</c:v>
                </c:pt>
                <c:pt idx="46">
                  <c:v>265.76030787313675</c:v>
                </c:pt>
                <c:pt idx="47">
                  <c:v>259.37141040565018</c:v>
                </c:pt>
                <c:pt idx="48">
                  <c:v>253.08073944766639</c:v>
                </c:pt>
                <c:pt idx="49">
                  <c:v>246.86916795608977</c:v>
                </c:pt>
                <c:pt idx="50">
                  <c:v>240.75407239735227</c:v>
                </c:pt>
                <c:pt idx="51">
                  <c:v>234.76985191956419</c:v>
                </c:pt>
                <c:pt idx="52">
                  <c:v>228.91152937092971</c:v>
                </c:pt>
                <c:pt idx="53">
                  <c:v>223.15543956308596</c:v>
                </c:pt>
                <c:pt idx="54">
                  <c:v>217.52559968420559</c:v>
                </c:pt>
                <c:pt idx="55">
                  <c:v>212.01950654391646</c:v>
                </c:pt>
                <c:pt idx="56">
                  <c:v>206.64379194859296</c:v>
                </c:pt>
                <c:pt idx="57">
                  <c:v>201.38539682154021</c:v>
                </c:pt>
                <c:pt idx="58">
                  <c:v>196.25369383128094</c:v>
                </c:pt>
                <c:pt idx="59">
                  <c:v>191.2860661571446</c:v>
                </c:pt>
                <c:pt idx="60">
                  <c:v>186.44836741126358</c:v>
                </c:pt>
                <c:pt idx="61">
                  <c:v>181.71196039507163</c:v>
                </c:pt>
                <c:pt idx="62">
                  <c:v>177.11507639979237</c:v>
                </c:pt>
                <c:pt idx="63">
                  <c:v>172.64230916564111</c:v>
                </c:pt>
                <c:pt idx="64">
                  <c:v>168.28934573901873</c:v>
                </c:pt>
                <c:pt idx="65">
                  <c:v>164.06575687526094</c:v>
                </c:pt>
                <c:pt idx="66">
                  <c:v>159.953320869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55.65015156981576</c:v>
                </c:pt>
                <c:pt idx="27">
                  <c:v>440.04027102541698</c:v>
                </c:pt>
                <c:pt idx="28">
                  <c:v>425.87629603754448</c:v>
                </c:pt>
                <c:pt idx="29">
                  <c:v>412.91954630436021</c:v>
                </c:pt>
                <c:pt idx="30">
                  <c:v>401.57768890466508</c:v>
                </c:pt>
                <c:pt idx="31">
                  <c:v>392.15977923659142</c:v>
                </c:pt>
                <c:pt idx="32">
                  <c:v>384.28412849616541</c:v>
                </c:pt>
                <c:pt idx="33">
                  <c:v>377.3137810760752</c:v>
                </c:pt>
                <c:pt idx="34">
                  <c:v>371.1019082668688</c:v>
                </c:pt>
                <c:pt idx="35">
                  <c:v>365.72669244933877</c:v>
                </c:pt>
                <c:pt idx="36">
                  <c:v>361.1222638890265</c:v>
                </c:pt>
                <c:pt idx="37">
                  <c:v>357.25045958325654</c:v>
                </c:pt>
                <c:pt idx="38">
                  <c:v>354.13311162612888</c:v>
                </c:pt>
                <c:pt idx="39">
                  <c:v>351.28059229595561</c:v>
                </c:pt>
                <c:pt idx="40">
                  <c:v>348.35750038685768</c:v>
                </c:pt>
                <c:pt idx="41">
                  <c:v>345.48202676897165</c:v>
                </c:pt>
                <c:pt idx="42">
                  <c:v>342.75817887457447</c:v>
                </c:pt>
                <c:pt idx="43">
                  <c:v>340.18854627562479</c:v>
                </c:pt>
                <c:pt idx="44">
                  <c:v>337.75606353043713</c:v>
                </c:pt>
                <c:pt idx="45">
                  <c:v>335.44071687996598</c:v>
                </c:pt>
                <c:pt idx="46">
                  <c:v>333.0761152177717</c:v>
                </c:pt>
                <c:pt idx="47">
                  <c:v>330.6647868803031</c:v>
                </c:pt>
                <c:pt idx="48">
                  <c:v>328.26208560547894</c:v>
                </c:pt>
                <c:pt idx="49">
                  <c:v>325.83668340600195</c:v>
                </c:pt>
                <c:pt idx="50">
                  <c:v>323.41328948143774</c:v>
                </c:pt>
                <c:pt idx="51">
                  <c:v>321.01280184052109</c:v>
                </c:pt>
                <c:pt idx="52">
                  <c:v>318.62747506573282</c:v>
                </c:pt>
                <c:pt idx="53">
                  <c:v>316.22498709082225</c:v>
                </c:pt>
                <c:pt idx="54">
                  <c:v>313.8269336605847</c:v>
                </c:pt>
                <c:pt idx="55">
                  <c:v>311.44565211926357</c:v>
                </c:pt>
                <c:pt idx="56">
                  <c:v>309.08042457925683</c:v>
                </c:pt>
                <c:pt idx="57">
                  <c:v>306.71660805678471</c:v>
                </c:pt>
                <c:pt idx="58">
                  <c:v>304.37270016777188</c:v>
                </c:pt>
                <c:pt idx="59">
                  <c:v>302.07088796136583</c:v>
                </c:pt>
                <c:pt idx="60">
                  <c:v>299.79121914701437</c:v>
                </c:pt>
                <c:pt idx="61">
                  <c:v>297.5026485892808</c:v>
                </c:pt>
                <c:pt idx="62">
                  <c:v>295.24797394905596</c:v>
                </c:pt>
                <c:pt idx="63">
                  <c:v>293.01211009784947</c:v>
                </c:pt>
                <c:pt idx="64">
                  <c:v>290.79097263096673</c:v>
                </c:pt>
                <c:pt idx="65">
                  <c:v>288.60473597721477</c:v>
                </c:pt>
                <c:pt idx="66">
                  <c:v>286.43139204843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56.71540082301021</c:v>
                </c:pt>
                <c:pt idx="27">
                  <c:v>442.96286138473045</c:v>
                </c:pt>
                <c:pt idx="28">
                  <c:v>431.13160745225764</c:v>
                </c:pt>
                <c:pt idx="29">
                  <c:v>420.77807901233336</c:v>
                </c:pt>
                <c:pt idx="30">
                  <c:v>412.51546283760217</c:v>
                </c:pt>
                <c:pt idx="31">
                  <c:v>406.80524560538447</c:v>
                </c:pt>
                <c:pt idx="32">
                  <c:v>403.35693215588515</c:v>
                </c:pt>
                <c:pt idx="33">
                  <c:v>401.56495213881999</c:v>
                </c:pt>
                <c:pt idx="34">
                  <c:v>401.03743419588341</c:v>
                </c:pt>
                <c:pt idx="35">
                  <c:v>401.75121321979805</c:v>
                </c:pt>
                <c:pt idx="36">
                  <c:v>403.66222715368019</c:v>
                </c:pt>
                <c:pt idx="37">
                  <c:v>406.84421947644478</c:v>
                </c:pt>
                <c:pt idx="38">
                  <c:v>411.31430093672714</c:v>
                </c:pt>
                <c:pt idx="39">
                  <c:v>416.50609942312377</c:v>
                </c:pt>
                <c:pt idx="40">
                  <c:v>421.98206746959215</c:v>
                </c:pt>
                <c:pt idx="41">
                  <c:v>427.7865399307359</c:v>
                </c:pt>
                <c:pt idx="42">
                  <c:v>434.03756610663982</c:v>
                </c:pt>
                <c:pt idx="43">
                  <c:v>440.77304158417229</c:v>
                </c:pt>
                <c:pt idx="44">
                  <c:v>447.97564726103224</c:v>
                </c:pt>
                <c:pt idx="45">
                  <c:v>455.56725631618298</c:v>
                </c:pt>
                <c:pt idx="46">
                  <c:v>463.33473655098669</c:v>
                </c:pt>
                <c:pt idx="47">
                  <c:v>471.24810233644894</c:v>
                </c:pt>
                <c:pt idx="48">
                  <c:v>479.37040859407603</c:v>
                </c:pt>
                <c:pt idx="49">
                  <c:v>487.69610282598001</c:v>
                </c:pt>
                <c:pt idx="50">
                  <c:v>496.24090349658252</c:v>
                </c:pt>
                <c:pt idx="51">
                  <c:v>505.00518546375326</c:v>
                </c:pt>
                <c:pt idx="52">
                  <c:v>513.9500285181025</c:v>
                </c:pt>
                <c:pt idx="53">
                  <c:v>523.04152991583214</c:v>
                </c:pt>
                <c:pt idx="54">
                  <c:v>532.31416451635437</c:v>
                </c:pt>
                <c:pt idx="55">
                  <c:v>541.78590724250387</c:v>
                </c:pt>
                <c:pt idx="56">
                  <c:v>551.45595567004295</c:v>
                </c:pt>
                <c:pt idx="57">
                  <c:v>561.3001559309813</c:v>
                </c:pt>
                <c:pt idx="58">
                  <c:v>571.32480483098198</c:v>
                </c:pt>
                <c:pt idx="59">
                  <c:v>581.56837441746961</c:v>
                </c:pt>
                <c:pt idx="60">
                  <c:v>592.00796443397053</c:v>
                </c:pt>
                <c:pt idx="61">
                  <c:v>602.61607295120177</c:v>
                </c:pt>
                <c:pt idx="62">
                  <c:v>613.43932560887652</c:v>
                </c:pt>
                <c:pt idx="63">
                  <c:v>624.4604895042371</c:v>
                </c:pt>
                <c:pt idx="64">
                  <c:v>635.67794526496846</c:v>
                </c:pt>
                <c:pt idx="65">
                  <c:v>647.1104951797131</c:v>
                </c:pt>
                <c:pt idx="66">
                  <c:v>658.74519165408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39</c:v>
                </c:pt>
                <c:pt idx="1">
                  <c:v>1139</c:v>
                </c:pt>
                <c:pt idx="2">
                  <c:v>1139</c:v>
                </c:pt>
                <c:pt idx="3">
                  <c:v>1139</c:v>
                </c:pt>
                <c:pt idx="4">
                  <c:v>1139</c:v>
                </c:pt>
                <c:pt idx="5">
                  <c:v>1139</c:v>
                </c:pt>
                <c:pt idx="6">
                  <c:v>1139</c:v>
                </c:pt>
                <c:pt idx="7">
                  <c:v>1139</c:v>
                </c:pt>
                <c:pt idx="8">
                  <c:v>1139</c:v>
                </c:pt>
                <c:pt idx="9">
                  <c:v>1139</c:v>
                </c:pt>
                <c:pt idx="10">
                  <c:v>1139</c:v>
                </c:pt>
                <c:pt idx="11">
                  <c:v>1139</c:v>
                </c:pt>
                <c:pt idx="12">
                  <c:v>1139</c:v>
                </c:pt>
                <c:pt idx="13">
                  <c:v>1139</c:v>
                </c:pt>
                <c:pt idx="14">
                  <c:v>1139</c:v>
                </c:pt>
                <c:pt idx="15">
                  <c:v>1139</c:v>
                </c:pt>
                <c:pt idx="16">
                  <c:v>1139</c:v>
                </c:pt>
                <c:pt idx="17">
                  <c:v>1139</c:v>
                </c:pt>
                <c:pt idx="18">
                  <c:v>1139</c:v>
                </c:pt>
                <c:pt idx="19">
                  <c:v>1139</c:v>
                </c:pt>
                <c:pt idx="20">
                  <c:v>1139</c:v>
                </c:pt>
                <c:pt idx="21">
                  <c:v>1139</c:v>
                </c:pt>
                <c:pt idx="22">
                  <c:v>1139</c:v>
                </c:pt>
                <c:pt idx="23">
                  <c:v>1139</c:v>
                </c:pt>
                <c:pt idx="24">
                  <c:v>1139</c:v>
                </c:pt>
                <c:pt idx="25">
                  <c:v>1139</c:v>
                </c:pt>
                <c:pt idx="26">
                  <c:v>1139</c:v>
                </c:pt>
                <c:pt idx="27">
                  <c:v>1139</c:v>
                </c:pt>
                <c:pt idx="28">
                  <c:v>1139</c:v>
                </c:pt>
                <c:pt idx="29">
                  <c:v>1139</c:v>
                </c:pt>
                <c:pt idx="30">
                  <c:v>1139</c:v>
                </c:pt>
                <c:pt idx="31">
                  <c:v>1139</c:v>
                </c:pt>
                <c:pt idx="32">
                  <c:v>1139</c:v>
                </c:pt>
                <c:pt idx="33">
                  <c:v>1139</c:v>
                </c:pt>
                <c:pt idx="34">
                  <c:v>1139</c:v>
                </c:pt>
                <c:pt idx="35">
                  <c:v>1139</c:v>
                </c:pt>
                <c:pt idx="36">
                  <c:v>1139</c:v>
                </c:pt>
                <c:pt idx="37">
                  <c:v>1139</c:v>
                </c:pt>
                <c:pt idx="38">
                  <c:v>1139</c:v>
                </c:pt>
                <c:pt idx="39">
                  <c:v>1139</c:v>
                </c:pt>
                <c:pt idx="40">
                  <c:v>1139</c:v>
                </c:pt>
                <c:pt idx="41">
                  <c:v>1139</c:v>
                </c:pt>
                <c:pt idx="42">
                  <c:v>1139</c:v>
                </c:pt>
                <c:pt idx="43">
                  <c:v>1139</c:v>
                </c:pt>
                <c:pt idx="44">
                  <c:v>1139</c:v>
                </c:pt>
                <c:pt idx="45">
                  <c:v>1139</c:v>
                </c:pt>
                <c:pt idx="46">
                  <c:v>1139</c:v>
                </c:pt>
                <c:pt idx="47">
                  <c:v>1139</c:v>
                </c:pt>
                <c:pt idx="48">
                  <c:v>1139</c:v>
                </c:pt>
                <c:pt idx="49">
                  <c:v>1139</c:v>
                </c:pt>
                <c:pt idx="50">
                  <c:v>1139</c:v>
                </c:pt>
                <c:pt idx="51">
                  <c:v>1139</c:v>
                </c:pt>
                <c:pt idx="52">
                  <c:v>1139</c:v>
                </c:pt>
                <c:pt idx="53">
                  <c:v>1139</c:v>
                </c:pt>
                <c:pt idx="54">
                  <c:v>1139</c:v>
                </c:pt>
                <c:pt idx="55">
                  <c:v>1139</c:v>
                </c:pt>
                <c:pt idx="56">
                  <c:v>1139</c:v>
                </c:pt>
                <c:pt idx="57">
                  <c:v>1139</c:v>
                </c:pt>
                <c:pt idx="58">
                  <c:v>1139</c:v>
                </c:pt>
                <c:pt idx="59">
                  <c:v>1139</c:v>
                </c:pt>
                <c:pt idx="60">
                  <c:v>1139</c:v>
                </c:pt>
                <c:pt idx="61">
                  <c:v>1139</c:v>
                </c:pt>
                <c:pt idx="62">
                  <c:v>1139</c:v>
                </c:pt>
                <c:pt idx="63">
                  <c:v>1139</c:v>
                </c:pt>
                <c:pt idx="64">
                  <c:v>1139</c:v>
                </c:pt>
                <c:pt idx="65">
                  <c:v>1139</c:v>
                </c:pt>
                <c:pt idx="66">
                  <c:v>1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0</c:v>
                </c:pt>
                <c:pt idx="1">
                  <c:v>1127</c:v>
                </c:pt>
                <c:pt idx="2">
                  <c:v>1602</c:v>
                </c:pt>
                <c:pt idx="3">
                  <c:v>2047</c:v>
                </c:pt>
                <c:pt idx="4">
                  <c:v>2415</c:v>
                </c:pt>
                <c:pt idx="5">
                  <c:v>3053</c:v>
                </c:pt>
                <c:pt idx="6">
                  <c:v>3571</c:v>
                </c:pt>
                <c:pt idx="7">
                  <c:v>4004</c:v>
                </c:pt>
                <c:pt idx="8">
                  <c:v>4483</c:v>
                </c:pt>
                <c:pt idx="9">
                  <c:v>4787</c:v>
                </c:pt>
                <c:pt idx="10">
                  <c:v>5069</c:v>
                </c:pt>
                <c:pt idx="11">
                  <c:v>5485</c:v>
                </c:pt>
                <c:pt idx="12">
                  <c:v>5859</c:v>
                </c:pt>
                <c:pt idx="13">
                  <c:v>6246</c:v>
                </c:pt>
                <c:pt idx="14">
                  <c:v>6598</c:v>
                </c:pt>
                <c:pt idx="15">
                  <c:v>6939</c:v>
                </c:pt>
                <c:pt idx="16">
                  <c:v>7202</c:v>
                </c:pt>
                <c:pt idx="17">
                  <c:v>7435</c:v>
                </c:pt>
                <c:pt idx="18">
                  <c:v>7788</c:v>
                </c:pt>
                <c:pt idx="19">
                  <c:v>8117</c:v>
                </c:pt>
                <c:pt idx="20">
                  <c:v>8452</c:v>
                </c:pt>
                <c:pt idx="21">
                  <c:v>8714</c:v>
                </c:pt>
                <c:pt idx="22">
                  <c:v>8967</c:v>
                </c:pt>
                <c:pt idx="23">
                  <c:v>9133</c:v>
                </c:pt>
                <c:pt idx="24">
                  <c:v>9301</c:v>
                </c:pt>
                <c:pt idx="25">
                  <c:v>9564</c:v>
                </c:pt>
                <c:pt idx="26">
                  <c:v>9814</c:v>
                </c:pt>
                <c:pt idx="27">
                  <c:v>10044</c:v>
                </c:pt>
                <c:pt idx="28">
                  <c:v>10287</c:v>
                </c:pt>
                <c:pt idx="29">
                  <c:v>10486</c:v>
                </c:pt>
                <c:pt idx="30">
                  <c:v>10644</c:v>
                </c:pt>
                <c:pt idx="31">
                  <c:v>10791</c:v>
                </c:pt>
                <c:pt idx="32">
                  <c:v>11045</c:v>
                </c:pt>
                <c:pt idx="33">
                  <c:v>11216</c:v>
                </c:pt>
                <c:pt idx="34">
                  <c:v>11398</c:v>
                </c:pt>
                <c:pt idx="35">
                  <c:v>11567</c:v>
                </c:pt>
                <c:pt idx="36">
                  <c:v>11743</c:v>
                </c:pt>
                <c:pt idx="37">
                  <c:v>11835</c:v>
                </c:pt>
                <c:pt idx="38">
                  <c:v>11936</c:v>
                </c:pt>
                <c:pt idx="39">
                  <c:v>12110</c:v>
                </c:pt>
                <c:pt idx="40">
                  <c:v>12248</c:v>
                </c:pt>
                <c:pt idx="41">
                  <c:v>12387</c:v>
                </c:pt>
                <c:pt idx="42">
                  <c:v>12505</c:v>
                </c:pt>
                <c:pt idx="43">
                  <c:v>12609</c:v>
                </c:pt>
                <c:pt idx="44">
                  <c:v>12673</c:v>
                </c:pt>
                <c:pt idx="45">
                  <c:v>12737</c:v>
                </c:pt>
                <c:pt idx="46">
                  <c:v>12839</c:v>
                </c:pt>
                <c:pt idx="47">
                  <c:v>12919</c:v>
                </c:pt>
                <c:pt idx="48">
                  <c:v>12988</c:v>
                </c:pt>
                <c:pt idx="49">
                  <c:v>13055</c:v>
                </c:pt>
                <c:pt idx="50">
                  <c:v>13130</c:v>
                </c:pt>
                <c:pt idx="51">
                  <c:v>13165</c:v>
                </c:pt>
                <c:pt idx="52">
                  <c:v>13195</c:v>
                </c:pt>
                <c:pt idx="53">
                  <c:v>13251</c:v>
                </c:pt>
                <c:pt idx="54">
                  <c:v>13304</c:v>
                </c:pt>
                <c:pt idx="55">
                  <c:v>13365</c:v>
                </c:pt>
                <c:pt idx="56">
                  <c:v>13402</c:v>
                </c:pt>
                <c:pt idx="57">
                  <c:v>13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47.2904203329963</c:v>
                </c:pt>
                <c:pt idx="27">
                  <c:v>9945.8793300166362</c:v>
                </c:pt>
                <c:pt idx="28">
                  <c:v>10136.96927479982</c:v>
                </c:pt>
                <c:pt idx="29">
                  <c:v>10321.271011540193</c:v>
                </c:pt>
                <c:pt idx="30">
                  <c:v>10499.227591096496</c:v>
                </c:pt>
                <c:pt idx="31">
                  <c:v>10672.361826317407</c:v>
                </c:pt>
                <c:pt idx="32">
                  <c:v>10841.01635469497</c:v>
                </c:pt>
                <c:pt idx="33">
                  <c:v>11004.372108585769</c:v>
                </c:pt>
                <c:pt idx="34">
                  <c:v>11162.592756734295</c:v>
                </c:pt>
                <c:pt idx="35">
                  <c:v>11315.358982025718</c:v>
                </c:pt>
                <c:pt idx="36">
                  <c:v>11462.26070735832</c:v>
                </c:pt>
                <c:pt idx="37">
                  <c:v>11602.611929833532</c:v>
                </c:pt>
                <c:pt idx="38">
                  <c:v>11736.691001444306</c:v>
                </c:pt>
                <c:pt idx="39">
                  <c:v>11864.831515174272</c:v>
                </c:pt>
                <c:pt idx="40">
                  <c:v>11987.16786070005</c:v>
                </c:pt>
                <c:pt idx="41">
                  <c:v>12103.973439783244</c:v>
                </c:pt>
                <c:pt idx="42">
                  <c:v>12215.421385545975</c:v>
                </c:pt>
                <c:pt idx="43">
                  <c:v>12321.640737117501</c:v>
                </c:pt>
                <c:pt idx="44">
                  <c:v>12422.763009317016</c:v>
                </c:pt>
                <c:pt idx="45">
                  <c:v>12519.152348440548</c:v>
                </c:pt>
                <c:pt idx="46">
                  <c:v>12611.032295176788</c:v>
                </c:pt>
                <c:pt idx="47">
                  <c:v>12698.582971470292</c:v>
                </c:pt>
                <c:pt idx="48">
                  <c:v>12782.062493254823</c:v>
                </c:pt>
                <c:pt idx="49">
                  <c:v>12861.644126121813</c:v>
                </c:pt>
                <c:pt idx="50">
                  <c:v>12937.518941915681</c:v>
                </c:pt>
                <c:pt idx="51">
                  <c:v>13009.859824834995</c:v>
                </c:pt>
                <c:pt idx="52">
                  <c:v>13078.818041385006</c:v>
                </c:pt>
                <c:pt idx="53">
                  <c:v>13144.611356007437</c:v>
                </c:pt>
                <c:pt idx="54">
                  <c:v>13207.423648011019</c:v>
                </c:pt>
                <c:pt idx="55">
                  <c:v>13267.349560939372</c:v>
                </c:pt>
                <c:pt idx="56">
                  <c:v>13324.55962834174</c:v>
                </c:pt>
                <c:pt idx="57">
                  <c:v>13379.178805342257</c:v>
                </c:pt>
                <c:pt idx="58">
                  <c:v>13431.320116855248</c:v>
                </c:pt>
                <c:pt idx="59">
                  <c:v>13481.130265939115</c:v>
                </c:pt>
                <c:pt idx="60">
                  <c:v>13528.720535886605</c:v>
                </c:pt>
                <c:pt idx="61">
                  <c:v>13574.193151044317</c:v>
                </c:pt>
                <c:pt idx="62">
                  <c:v>13617.685579381687</c:v>
                </c:pt>
                <c:pt idx="63">
                  <c:v>13659.262873016603</c:v>
                </c:pt>
                <c:pt idx="64">
                  <c:v>13699.051419960029</c:v>
                </c:pt>
                <c:pt idx="65">
                  <c:v>13737.110571210469</c:v>
                </c:pt>
                <c:pt idx="66">
                  <c:v>13773.561810976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52.375830434903</c:v>
                </c:pt>
                <c:pt idx="27">
                  <c:v>9959.8805382346691</c:v>
                </c:pt>
                <c:pt idx="28">
                  <c:v>10162.440406902533</c:v>
                </c:pt>
                <c:pt idx="29">
                  <c:v>10359.977826740913</c:v>
                </c:pt>
                <c:pt idx="30">
                  <c:v>10553.479128639723</c:v>
                </c:pt>
                <c:pt idx="31">
                  <c:v>10744.950812267234</c:v>
                </c:pt>
                <c:pt idx="32">
                  <c:v>10935.061141885832</c:v>
                </c:pt>
                <c:pt idx="33">
                  <c:v>11123.186234822744</c:v>
                </c:pt>
                <c:pt idx="34">
                  <c:v>11308.754428656546</c:v>
                </c:pt>
                <c:pt idx="35">
                  <c:v>11491.076234579639</c:v>
                </c:pt>
                <c:pt idx="36">
                  <c:v>11669.585426091326</c:v>
                </c:pt>
                <c:pt idx="37">
                  <c:v>11843.750568993106</c:v>
                </c:pt>
                <c:pt idx="38">
                  <c:v>12013.780645942621</c:v>
                </c:pt>
                <c:pt idx="39">
                  <c:v>12179.797805330629</c:v>
                </c:pt>
                <c:pt idx="40">
                  <c:v>12341.616312038503</c:v>
                </c:pt>
                <c:pt idx="41">
                  <c:v>12499.230623222116</c:v>
                </c:pt>
                <c:pt idx="42">
                  <c:v>12652.774704882875</c:v>
                </c:pt>
                <c:pt idx="43">
                  <c:v>12802.267940680867</c:v>
                </c:pt>
                <c:pt idx="44">
                  <c:v>12947.691445031945</c:v>
                </c:pt>
                <c:pt idx="45">
                  <c:v>13089.249249874745</c:v>
                </c:pt>
                <c:pt idx="46">
                  <c:v>13227.088035688903</c:v>
                </c:pt>
                <c:pt idx="47">
                  <c:v>13361.24813762174</c:v>
                </c:pt>
                <c:pt idx="48">
                  <c:v>13491.799538614781</c:v>
                </c:pt>
                <c:pt idx="49">
                  <c:v>13618.914904228572</c:v>
                </c:pt>
                <c:pt idx="50">
                  <c:v>13742.632031733992</c:v>
                </c:pt>
                <c:pt idx="51">
                  <c:v>13863.059546034892</c:v>
                </c:pt>
                <c:pt idx="52">
                  <c:v>13980.26388685048</c:v>
                </c:pt>
                <c:pt idx="53">
                  <c:v>14094.376698363601</c:v>
                </c:pt>
                <c:pt idx="54">
                  <c:v>14205.49695562166</c:v>
                </c:pt>
                <c:pt idx="55">
                  <c:v>14313.675314472333</c:v>
                </c:pt>
                <c:pt idx="56">
                  <c:v>14419.009635521485</c:v>
                </c:pt>
                <c:pt idx="57">
                  <c:v>14521.585957113217</c:v>
                </c:pt>
                <c:pt idx="58">
                  <c:v>14621.449670103451</c:v>
                </c:pt>
                <c:pt idx="59">
                  <c:v>14718.71394393465</c:v>
                </c:pt>
                <c:pt idx="60">
                  <c:v>14813.427092541686</c:v>
                </c:pt>
                <c:pt idx="61">
                  <c:v>14905.700721219</c:v>
                </c:pt>
                <c:pt idx="62">
                  <c:v>14995.581804604779</c:v>
                </c:pt>
                <c:pt idx="63">
                  <c:v>15083.143292179004</c:v>
                </c:pt>
                <c:pt idx="64">
                  <c:v>15168.461415232901</c:v>
                </c:pt>
                <c:pt idx="65">
                  <c:v>15251.574622690627</c:v>
                </c:pt>
                <c:pt idx="66">
                  <c:v>15332.55150323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57.4227147026832</c:v>
                </c:pt>
                <c:pt idx="27">
                  <c:v>9973.8352166188779</c:v>
                </c:pt>
                <c:pt idx="28">
                  <c:v>10187.861408184595</c:v>
                </c:pt>
                <c:pt idx="29">
                  <c:v>10398.631008535187</c:v>
                </c:pt>
                <c:pt idx="30">
                  <c:v>10607.904453038253</c:v>
                </c:pt>
                <c:pt idx="31">
                  <c:v>10818.374131206867</c:v>
                </c:pt>
                <c:pt idx="32">
                  <c:v>11031.203163154474</c:v>
                </c:pt>
                <c:pt idx="33">
                  <c:v>11246.022911828673</c:v>
                </c:pt>
                <c:pt idx="34">
                  <c:v>11461.458367466985</c:v>
                </c:pt>
                <c:pt idx="35">
                  <c:v>11676.435839802725</c:v>
                </c:pt>
                <c:pt idx="36">
                  <c:v>11890.496328232897</c:v>
                </c:pt>
                <c:pt idx="37">
                  <c:v>12103.499510821523</c:v>
                </c:pt>
                <c:pt idx="38">
                  <c:v>12315.58897949833</c:v>
                </c:pt>
                <c:pt idx="39">
                  <c:v>12526.674671335502</c:v>
                </c:pt>
                <c:pt idx="40">
                  <c:v>12736.396460236683</c:v>
                </c:pt>
                <c:pt idx="41">
                  <c:v>12944.486642449272</c:v>
                </c:pt>
                <c:pt idx="42">
                  <c:v>13150.995206775202</c:v>
                </c:pt>
                <c:pt idx="43">
                  <c:v>13356.002339666033</c:v>
                </c:pt>
                <c:pt idx="44">
                  <c:v>13559.505303505095</c:v>
                </c:pt>
                <c:pt idx="45">
                  <c:v>13761.523178095784</c:v>
                </c:pt>
                <c:pt idx="46">
                  <c:v>13961.951288031552</c:v>
                </c:pt>
                <c:pt idx="47">
                  <c:v>14160.749329532271</c:v>
                </c:pt>
                <c:pt idx="48">
                  <c:v>14358.009104689067</c:v>
                </c:pt>
                <c:pt idx="49">
                  <c:v>14553.758776633011</c:v>
                </c:pt>
                <c:pt idx="50">
                  <c:v>14748.020650869184</c:v>
                </c:pt>
                <c:pt idx="51">
                  <c:v>14940.755546602923</c:v>
                </c:pt>
                <c:pt idx="52">
                  <c:v>15131.971568654531</c:v>
                </c:pt>
                <c:pt idx="53">
                  <c:v>15321.684376189274</c:v>
                </c:pt>
                <c:pt idx="54">
                  <c:v>15509.90636860767</c:v>
                </c:pt>
                <c:pt idx="55">
                  <c:v>15696.720369742186</c:v>
                </c:pt>
                <c:pt idx="56">
                  <c:v>15882.089992019784</c:v>
                </c:pt>
                <c:pt idx="57">
                  <c:v>16066.014137307116</c:v>
                </c:pt>
                <c:pt idx="58">
                  <c:v>16248.536172176777</c:v>
                </c:pt>
                <c:pt idx="59">
                  <c:v>16429.591969566703</c:v>
                </c:pt>
                <c:pt idx="60">
                  <c:v>16609.250835730512</c:v>
                </c:pt>
                <c:pt idx="61">
                  <c:v>16787.529800765406</c:v>
                </c:pt>
                <c:pt idx="62">
                  <c:v>16964.435922830424</c:v>
                </c:pt>
                <c:pt idx="63">
                  <c:v>17139.974677961778</c:v>
                </c:pt>
                <c:pt idx="64">
                  <c:v>17314.151476638275</c:v>
                </c:pt>
                <c:pt idx="65">
                  <c:v>17487.008957982936</c:v>
                </c:pt>
                <c:pt idx="66">
                  <c:v>17658.52105717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65.0123040214166</c:v>
                </c:pt>
                <c:pt idx="27">
                  <c:v>9994.8290249462079</c:v>
                </c:pt>
                <c:pt idx="28">
                  <c:v>10226.083768268865</c:v>
                </c:pt>
                <c:pt idx="29">
                  <c:v>10456.710993667344</c:v>
                </c:pt>
                <c:pt idx="30">
                  <c:v>10690.169921287867</c:v>
                </c:pt>
                <c:pt idx="31">
                  <c:v>10930.504166512765</c:v>
                </c:pt>
                <c:pt idx="32">
                  <c:v>11179.827420813825</c:v>
                </c:pt>
                <c:pt idx="33">
                  <c:v>11438.360213308159</c:v>
                </c:pt>
                <c:pt idx="34">
                  <c:v>11703.414305543622</c:v>
                </c:pt>
                <c:pt idx="35">
                  <c:v>11973.562921247772</c:v>
                </c:pt>
                <c:pt idx="36">
                  <c:v>12248.794875447828</c:v>
                </c:pt>
                <c:pt idx="37">
                  <c:v>12530.067319343689</c:v>
                </c:pt>
                <c:pt idx="38">
                  <c:v>12817.808535609744</c:v>
                </c:pt>
                <c:pt idx="39">
                  <c:v>13111.709745080712</c:v>
                </c:pt>
                <c:pt idx="40">
                  <c:v>13411.08043241116</c:v>
                </c:pt>
                <c:pt idx="41">
                  <c:v>13715.539035818772</c:v>
                </c:pt>
                <c:pt idx="42">
                  <c:v>14025.521325274021</c:v>
                </c:pt>
                <c:pt idx="43">
                  <c:v>14341.507790228192</c:v>
                </c:pt>
                <c:pt idx="44">
                  <c:v>14663.684670266455</c:v>
                </c:pt>
                <c:pt idx="45">
                  <c:v>14991.908399112079</c:v>
                </c:pt>
                <c:pt idx="46">
                  <c:v>15326.008939375992</c:v>
                </c:pt>
                <c:pt idx="47">
                  <c:v>15665.960679669181</c:v>
                </c:pt>
                <c:pt idx="48">
                  <c:v>16012.107728322546</c:v>
                </c:pt>
                <c:pt idx="49">
                  <c:v>16364.780735989043</c:v>
                </c:pt>
                <c:pt idx="50">
                  <c:v>16724.05547304613</c:v>
                </c:pt>
                <c:pt idx="51">
                  <c:v>17089.900186285537</c:v>
                </c:pt>
                <c:pt idx="52">
                  <c:v>17462.279302343864</c:v>
                </c:pt>
                <c:pt idx="53">
                  <c:v>17841.345750811837</c:v>
                </c:pt>
                <c:pt idx="54">
                  <c:v>18227.320281541142</c:v>
                </c:pt>
                <c:pt idx="55">
                  <c:v>18620.433020141143</c:v>
                </c:pt>
                <c:pt idx="56">
                  <c:v>19020.748425649974</c:v>
                </c:pt>
                <c:pt idx="57">
                  <c:v>19428.318579486651</c:v>
                </c:pt>
                <c:pt idx="58">
                  <c:v>19843.230664868737</c:v>
                </c:pt>
                <c:pt idx="59">
                  <c:v>20265.65388147335</c:v>
                </c:pt>
                <c:pt idx="60">
                  <c:v>20695.736995889631</c:v>
                </c:pt>
                <c:pt idx="61">
                  <c:v>21133.626441979512</c:v>
                </c:pt>
                <c:pt idx="62">
                  <c:v>21579.468759872347</c:v>
                </c:pt>
                <c:pt idx="63">
                  <c:v>22033.372238679665</c:v>
                </c:pt>
                <c:pt idx="64">
                  <c:v>22495.477034955846</c:v>
                </c:pt>
                <c:pt idx="65">
                  <c:v>22965.929919538772</c:v>
                </c:pt>
                <c:pt idx="66">
                  <c:v>23444.879893062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</c:v>
                </c:pt>
                <c:pt idx="1">
                  <c:v>120</c:v>
                </c:pt>
                <c:pt idx="2">
                  <c:v>168</c:v>
                </c:pt>
                <c:pt idx="3">
                  <c:v>202</c:v>
                </c:pt>
                <c:pt idx="4">
                  <c:v>259</c:v>
                </c:pt>
                <c:pt idx="5">
                  <c:v>316</c:v>
                </c:pt>
                <c:pt idx="6">
                  <c:v>400</c:v>
                </c:pt>
                <c:pt idx="7">
                  <c:v>455</c:v>
                </c:pt>
                <c:pt idx="8">
                  <c:v>501</c:v>
                </c:pt>
                <c:pt idx="9">
                  <c:v>539</c:v>
                </c:pt>
                <c:pt idx="10">
                  <c:v>570</c:v>
                </c:pt>
                <c:pt idx="11">
                  <c:v>615</c:v>
                </c:pt>
                <c:pt idx="12">
                  <c:v>648</c:v>
                </c:pt>
                <c:pt idx="13">
                  <c:v>701</c:v>
                </c:pt>
                <c:pt idx="14">
                  <c:v>738</c:v>
                </c:pt>
                <c:pt idx="15">
                  <c:v>772</c:v>
                </c:pt>
                <c:pt idx="16">
                  <c:v>795</c:v>
                </c:pt>
                <c:pt idx="17">
                  <c:v>815</c:v>
                </c:pt>
                <c:pt idx="18">
                  <c:v>848</c:v>
                </c:pt>
                <c:pt idx="19">
                  <c:v>886</c:v>
                </c:pt>
                <c:pt idx="20">
                  <c:v>930</c:v>
                </c:pt>
                <c:pt idx="21">
                  <c:v>960</c:v>
                </c:pt>
                <c:pt idx="22">
                  <c:v>981</c:v>
                </c:pt>
                <c:pt idx="23">
                  <c:v>999</c:v>
                </c:pt>
                <c:pt idx="24">
                  <c:v>1013</c:v>
                </c:pt>
                <c:pt idx="25">
                  <c:v>1037</c:v>
                </c:pt>
                <c:pt idx="26">
                  <c:v>1066</c:v>
                </c:pt>
                <c:pt idx="27">
                  <c:v>1099</c:v>
                </c:pt>
                <c:pt idx="28">
                  <c:v>1124</c:v>
                </c:pt>
                <c:pt idx="29">
                  <c:v>1145</c:v>
                </c:pt>
                <c:pt idx="30">
                  <c:v>1159</c:v>
                </c:pt>
                <c:pt idx="31">
                  <c:v>1171</c:v>
                </c:pt>
                <c:pt idx="32">
                  <c:v>1185</c:v>
                </c:pt>
                <c:pt idx="33">
                  <c:v>1198</c:v>
                </c:pt>
                <c:pt idx="34">
                  <c:v>1219</c:v>
                </c:pt>
                <c:pt idx="35">
                  <c:v>1233</c:v>
                </c:pt>
                <c:pt idx="36">
                  <c:v>1250</c:v>
                </c:pt>
                <c:pt idx="37">
                  <c:v>1263</c:v>
                </c:pt>
                <c:pt idx="38">
                  <c:v>1268</c:v>
                </c:pt>
                <c:pt idx="39">
                  <c:v>1289</c:v>
                </c:pt>
                <c:pt idx="40">
                  <c:v>1306</c:v>
                </c:pt>
                <c:pt idx="41">
                  <c:v>1324</c:v>
                </c:pt>
                <c:pt idx="42">
                  <c:v>1335</c:v>
                </c:pt>
                <c:pt idx="43">
                  <c:v>1346</c:v>
                </c:pt>
                <c:pt idx="44">
                  <c:v>1352</c:v>
                </c:pt>
                <c:pt idx="45">
                  <c:v>1356</c:v>
                </c:pt>
                <c:pt idx="46">
                  <c:v>1366</c:v>
                </c:pt>
                <c:pt idx="47">
                  <c:v>1377</c:v>
                </c:pt>
                <c:pt idx="48">
                  <c:v>1387</c:v>
                </c:pt>
                <c:pt idx="49">
                  <c:v>1392</c:v>
                </c:pt>
                <c:pt idx="50">
                  <c:v>1400</c:v>
                </c:pt>
                <c:pt idx="51">
                  <c:v>1402</c:v>
                </c:pt>
                <c:pt idx="52">
                  <c:v>1406</c:v>
                </c:pt>
                <c:pt idx="53">
                  <c:v>1417</c:v>
                </c:pt>
                <c:pt idx="54">
                  <c:v>1419</c:v>
                </c:pt>
                <c:pt idx="55">
                  <c:v>1426</c:v>
                </c:pt>
                <c:pt idx="56">
                  <c:v>1432</c:v>
                </c:pt>
                <c:pt idx="57">
                  <c:v>1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59.4961622460037</c:v>
                </c:pt>
                <c:pt idx="27">
                  <c:v>1082.2363749480423</c:v>
                </c:pt>
                <c:pt idx="28">
                  <c:v>1104.1152965931587</c:v>
                </c:pt>
                <c:pt idx="29">
                  <c:v>1125.2131064219586</c:v>
                </c:pt>
                <c:pt idx="30">
                  <c:v>1145.5908067451628</c:v>
                </c:pt>
                <c:pt idx="31">
                  <c:v>1165.4281706165843</c:v>
                </c:pt>
                <c:pt idx="32">
                  <c:v>1184.7700331940976</c:v>
                </c:pt>
                <c:pt idx="33">
                  <c:v>1203.522113135233</c:v>
                </c:pt>
                <c:pt idx="34">
                  <c:v>1221.6975273656276</c:v>
                </c:pt>
                <c:pt idx="35">
                  <c:v>1239.252731047354</c:v>
                </c:pt>
                <c:pt idx="36">
                  <c:v>1256.1365601460441</c:v>
                </c:pt>
                <c:pt idx="37">
                  <c:v>1272.2697893192399</c:v>
                </c:pt>
                <c:pt idx="38">
                  <c:v>1287.6837039845163</c:v>
                </c:pt>
                <c:pt idx="39">
                  <c:v>1302.4162938124696</c:v>
                </c:pt>
                <c:pt idx="40">
                  <c:v>1316.4821872988716</c:v>
                </c:pt>
                <c:pt idx="41">
                  <c:v>1329.912457898216</c:v>
                </c:pt>
                <c:pt idx="42">
                  <c:v>1342.7269373023335</c:v>
                </c:pt>
                <c:pt idx="43">
                  <c:v>1354.9404110176124</c:v>
                </c:pt>
                <c:pt idx="44">
                  <c:v>1366.5677673202426</c:v>
                </c:pt>
                <c:pt idx="45">
                  <c:v>1377.6512320873376</c:v>
                </c:pt>
                <c:pt idx="46">
                  <c:v>1388.2169212442168</c:v>
                </c:pt>
                <c:pt idx="47">
                  <c:v>1398.2847951356307</c:v>
                </c:pt>
                <c:pt idx="48">
                  <c:v>1407.884348944177</c:v>
                </c:pt>
                <c:pt idx="49">
                  <c:v>1417.0357142900978</c:v>
                </c:pt>
                <c:pt idx="50">
                  <c:v>1425.7604926684278</c:v>
                </c:pt>
                <c:pt idx="51">
                  <c:v>1434.0787365920314</c:v>
                </c:pt>
                <c:pt idx="52">
                  <c:v>1442.0081870040844</c:v>
                </c:pt>
                <c:pt idx="53">
                  <c:v>1449.5738361922845</c:v>
                </c:pt>
                <c:pt idx="54">
                  <c:v>1456.7964742943407</c:v>
                </c:pt>
                <c:pt idx="55">
                  <c:v>1463.6872812748627</c:v>
                </c:pt>
                <c:pt idx="56">
                  <c:v>1470.2656790820233</c:v>
                </c:pt>
                <c:pt idx="57">
                  <c:v>1476.5460330196931</c:v>
                </c:pt>
                <c:pt idx="58">
                  <c:v>1482.5413922946659</c:v>
                </c:pt>
                <c:pt idx="59">
                  <c:v>1488.2685779566759</c:v>
                </c:pt>
                <c:pt idx="60">
                  <c:v>1493.7404024647851</c:v>
                </c:pt>
                <c:pt idx="61">
                  <c:v>1498.9686518897197</c:v>
                </c:pt>
                <c:pt idx="62">
                  <c:v>1503.969064276987</c:v>
                </c:pt>
                <c:pt idx="63">
                  <c:v>1508.7492066838861</c:v>
                </c:pt>
                <c:pt idx="64">
                  <c:v>1513.3235481895372</c:v>
                </c:pt>
                <c:pt idx="65">
                  <c:v>1517.6989881442698</c:v>
                </c:pt>
                <c:pt idx="66">
                  <c:v>1521.8894232208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60.0688978278984</c:v>
                </c:pt>
                <c:pt idx="27">
                  <c:v>1083.8133710553375</c:v>
                </c:pt>
                <c:pt idx="28">
                  <c:v>1106.9856833387712</c:v>
                </c:pt>
                <c:pt idx="29">
                  <c:v>1129.5782030209389</c:v>
                </c:pt>
                <c:pt idx="30">
                  <c:v>1151.7141687550609</c:v>
                </c:pt>
                <c:pt idx="31">
                  <c:v>1173.6290569963555</c:v>
                </c:pt>
                <c:pt idx="32">
                  <c:v>1195.4053182256014</c:v>
                </c:pt>
                <c:pt idx="33">
                  <c:v>1216.9712907958531</c:v>
                </c:pt>
                <c:pt idx="34">
                  <c:v>1238.2573506588722</c:v>
                </c:pt>
                <c:pt idx="35">
                  <c:v>1259.1781648011806</c:v>
                </c:pt>
                <c:pt idx="36">
                  <c:v>1279.6645755894601</c:v>
                </c:pt>
                <c:pt idx="37">
                  <c:v>1299.6543858138205</c:v>
                </c:pt>
                <c:pt idx="38">
                  <c:v>1319.1708279805334</c:v>
                </c:pt>
                <c:pt idx="39">
                  <c:v>1338.2277933818559</c:v>
                </c:pt>
                <c:pt idx="40">
                  <c:v>1356.8035213752246</c:v>
                </c:pt>
                <c:pt idx="41">
                  <c:v>1374.8972464929202</c:v>
                </c:pt>
                <c:pt idx="42">
                  <c:v>1392.5240210451739</c:v>
                </c:pt>
                <c:pt idx="43">
                  <c:v>1409.6858688791194</c:v>
                </c:pt>
                <c:pt idx="44">
                  <c:v>1426.3804451662004</c:v>
                </c:pt>
                <c:pt idx="45">
                  <c:v>1442.6316251195271</c:v>
                </c:pt>
                <c:pt idx="46">
                  <c:v>1458.456563355661</c:v>
                </c:pt>
                <c:pt idx="47">
                  <c:v>1473.8591744550426</c:v>
                </c:pt>
                <c:pt idx="48">
                  <c:v>1488.8474790262617</c:v>
                </c:pt>
                <c:pt idx="49">
                  <c:v>1503.441270335953</c:v>
                </c:pt>
                <c:pt idx="50">
                  <c:v>1517.644654089298</c:v>
                </c:pt>
                <c:pt idx="51">
                  <c:v>1531.4702381328307</c:v>
                </c:pt>
                <c:pt idx="52">
                  <c:v>1544.9260049157726</c:v>
                </c:pt>
                <c:pt idx="53">
                  <c:v>1558.027055881603</c:v>
                </c:pt>
                <c:pt idx="54">
                  <c:v>1570.7844480084223</c:v>
                </c:pt>
                <c:pt idx="55">
                  <c:v>1583.204206671573</c:v>
                </c:pt>
                <c:pt idx="56">
                  <c:v>1595.2974080606318</c:v>
                </c:pt>
                <c:pt idx="57">
                  <c:v>1607.0738787790378</c:v>
                </c:pt>
                <c:pt idx="58">
                  <c:v>1618.5389128553388</c:v>
                </c:pt>
                <c:pt idx="59">
                  <c:v>1629.7054273947888</c:v>
                </c:pt>
                <c:pt idx="60">
                  <c:v>1640.5790223224562</c:v>
                </c:pt>
                <c:pt idx="61">
                  <c:v>1651.1724331220889</c:v>
                </c:pt>
                <c:pt idx="62">
                  <c:v>1661.4911024515138</c:v>
                </c:pt>
                <c:pt idx="63">
                  <c:v>1671.5434060750308</c:v>
                </c:pt>
                <c:pt idx="64">
                  <c:v>1681.3380776302745</c:v>
                </c:pt>
                <c:pt idx="65">
                  <c:v>1690.8795946921437</c:v>
                </c:pt>
                <c:pt idx="66">
                  <c:v>1700.1758286495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60.6372945038672</c:v>
                </c:pt>
                <c:pt idx="27">
                  <c:v>1085.3851258043039</c:v>
                </c:pt>
                <c:pt idx="28">
                  <c:v>1109.8504125426537</c:v>
                </c:pt>
                <c:pt idx="29">
                  <c:v>1133.9372351149023</c:v>
                </c:pt>
                <c:pt idx="30">
                  <c:v>1157.8570626306566</c:v>
                </c:pt>
                <c:pt idx="31">
                  <c:v>1181.9238527989442</c:v>
                </c:pt>
                <c:pt idx="32">
                  <c:v>1206.2768030753866</c:v>
                </c:pt>
                <c:pt idx="33">
                  <c:v>1230.87375759309</c:v>
                </c:pt>
                <c:pt idx="34">
                  <c:v>1255.55487525695</c:v>
                </c:pt>
                <c:pt idx="35">
                  <c:v>1280.1916832259506</c:v>
                </c:pt>
                <c:pt idx="36">
                  <c:v>1304.7269248647792</c:v>
                </c:pt>
                <c:pt idx="37">
                  <c:v>1329.1423025851764</c:v>
                </c:pt>
                <c:pt idx="38">
                  <c:v>1353.4536912045528</c:v>
                </c:pt>
                <c:pt idx="39">
                  <c:v>1377.6510267355523</c:v>
                </c:pt>
                <c:pt idx="40">
                  <c:v>1401.6927470176788</c:v>
                </c:pt>
                <c:pt idx="41">
                  <c:v>1425.5483014558474</c:v>
                </c:pt>
                <c:pt idx="42">
                  <c:v>1449.2231023549484</c:v>
                </c:pt>
                <c:pt idx="43">
                  <c:v>1472.7257703636299</c:v>
                </c:pt>
                <c:pt idx="44">
                  <c:v>1496.0556105530186</c:v>
                </c:pt>
                <c:pt idx="45">
                  <c:v>1519.2154890002696</c:v>
                </c:pt>
                <c:pt idx="46">
                  <c:v>1542.194075324715</c:v>
                </c:pt>
                <c:pt idx="47">
                  <c:v>1564.9859883576487</c:v>
                </c:pt>
                <c:pt idx="48">
                  <c:v>1587.6014725255213</c:v>
                </c:pt>
                <c:pt idx="49">
                  <c:v>1610.0438448942753</c:v>
                </c:pt>
                <c:pt idx="50">
                  <c:v>1632.3153138142616</c:v>
                </c:pt>
                <c:pt idx="51">
                  <c:v>1654.4116447353115</c:v>
                </c:pt>
                <c:pt idx="52">
                  <c:v>1676.334089724</c:v>
                </c:pt>
                <c:pt idx="53">
                  <c:v>1698.0845101180039</c:v>
                </c:pt>
                <c:pt idx="54">
                  <c:v>1719.6640555236204</c:v>
                </c:pt>
                <c:pt idx="55">
                  <c:v>1741.0821905429586</c:v>
                </c:pt>
                <c:pt idx="56">
                  <c:v>1762.3347144998663</c:v>
                </c:pt>
                <c:pt idx="57">
                  <c:v>1783.4215066974889</c:v>
                </c:pt>
                <c:pt idx="58">
                  <c:v>1804.3474777822835</c:v>
                </c:pt>
                <c:pt idx="59">
                  <c:v>1825.1054325883915</c:v>
                </c:pt>
                <c:pt idx="60">
                  <c:v>1845.7032131869037</c:v>
                </c:pt>
                <c:pt idx="61">
                  <c:v>1866.1427513733993</c:v>
                </c:pt>
                <c:pt idx="62">
                  <c:v>1886.4248706301205</c:v>
                </c:pt>
                <c:pt idx="63">
                  <c:v>1906.5502155619599</c:v>
                </c:pt>
                <c:pt idx="64">
                  <c:v>1926.5194172275701</c:v>
                </c:pt>
                <c:pt idx="65">
                  <c:v>1946.3373020517765</c:v>
                </c:pt>
                <c:pt idx="66">
                  <c:v>1966.0009548410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61.4920589707835</c:v>
                </c:pt>
                <c:pt idx="27">
                  <c:v>1087.7497175128412</c:v>
                </c:pt>
                <c:pt idx="28">
                  <c:v>1114.1577459306297</c:v>
                </c:pt>
                <c:pt idx="29">
                  <c:v>1140.4870937292458</c:v>
                </c:pt>
                <c:pt idx="30">
                  <c:v>1167.1421227348158</c:v>
                </c:pt>
                <c:pt idx="31">
                  <c:v>1194.5908337160292</c:v>
                </c:pt>
                <c:pt idx="32">
                  <c:v>1223.0811514071177</c:v>
                </c:pt>
                <c:pt idx="33">
                  <c:v>1252.6386378110278</c:v>
                </c:pt>
                <c:pt idx="34">
                  <c:v>1282.9562597081274</c:v>
                </c:pt>
                <c:pt idx="35">
                  <c:v>1313.8664129697561</c:v>
                </c:pt>
                <c:pt idx="36">
                  <c:v>1345.3624546255321</c:v>
                </c:pt>
                <c:pt idx="37">
                  <c:v>1377.5499607370007</c:v>
                </c:pt>
                <c:pt idx="38">
                  <c:v>1410.4773633607685</c:v>
                </c:pt>
                <c:pt idx="39">
                  <c:v>1444.1103801311401</c:v>
                </c:pt>
                <c:pt idx="40">
                  <c:v>1478.3704983313783</c:v>
                </c:pt>
                <c:pt idx="41">
                  <c:v>1513.2144210743322</c:v>
                </c:pt>
                <c:pt idx="42">
                  <c:v>1548.6911977571676</c:v>
                </c:pt>
                <c:pt idx="43">
                  <c:v>1584.8546539470763</c:v>
                </c:pt>
                <c:pt idx="44">
                  <c:v>1621.7256600916955</c:v>
                </c:pt>
                <c:pt idx="45">
                  <c:v>1659.2889927710405</c:v>
                </c:pt>
                <c:pt idx="46">
                  <c:v>1697.5261655032755</c:v>
                </c:pt>
                <c:pt idx="47">
                  <c:v>1736.4335907672289</c:v>
                </c:pt>
                <c:pt idx="48">
                  <c:v>1776.0500689507658</c:v>
                </c:pt>
                <c:pt idx="49">
                  <c:v>1816.4131439203456</c:v>
                </c:pt>
                <c:pt idx="50">
                  <c:v>1857.531269827406</c:v>
                </c:pt>
                <c:pt idx="51">
                  <c:v>1899.4012593119019</c:v>
                </c:pt>
                <c:pt idx="52">
                  <c:v>1942.0196345729678</c:v>
                </c:pt>
                <c:pt idx="53">
                  <c:v>1985.4039033293661</c:v>
                </c:pt>
                <c:pt idx="54">
                  <c:v>2029.5788763681498</c:v>
                </c:pt>
                <c:pt idx="55">
                  <c:v>2074.5707795551198</c:v>
                </c:pt>
                <c:pt idx="56">
                  <c:v>2120.3869922781159</c:v>
                </c:pt>
                <c:pt idx="57">
                  <c:v>2167.0335816343395</c:v>
                </c:pt>
                <c:pt idx="58">
                  <c:v>2214.5205983442183</c:v>
                </c:pt>
                <c:pt idx="59">
                  <c:v>2262.8673218161398</c:v>
                </c:pt>
                <c:pt idx="60">
                  <c:v>2312.0907476867833</c:v>
                </c:pt>
                <c:pt idx="61">
                  <c:v>2362.2076216308069</c:v>
                </c:pt>
                <c:pt idx="62">
                  <c:v>2413.2346956715255</c:v>
                </c:pt>
                <c:pt idx="63">
                  <c:v>2465.1844259942445</c:v>
                </c:pt>
                <c:pt idx="64">
                  <c:v>2518.0728589558585</c:v>
                </c:pt>
                <c:pt idx="65">
                  <c:v>2571.9167835369062</c:v>
                </c:pt>
                <c:pt idx="66">
                  <c:v>2626.733246948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</c:v>
                </c:pt>
                <c:pt idx="1">
                  <c:v>108</c:v>
                </c:pt>
                <c:pt idx="2">
                  <c:v>147</c:v>
                </c:pt>
                <c:pt idx="3">
                  <c:v>186</c:v>
                </c:pt>
                <c:pt idx="4">
                  <c:v>213</c:v>
                </c:pt>
                <c:pt idx="5">
                  <c:v>258</c:v>
                </c:pt>
                <c:pt idx="6">
                  <c:v>292</c:v>
                </c:pt>
                <c:pt idx="7">
                  <c:v>339</c:v>
                </c:pt>
                <c:pt idx="8">
                  <c:v>387</c:v>
                </c:pt>
                <c:pt idx="9">
                  <c:v>421</c:v>
                </c:pt>
                <c:pt idx="10">
                  <c:v>447</c:v>
                </c:pt>
                <c:pt idx="11">
                  <c:v>473</c:v>
                </c:pt>
                <c:pt idx="12">
                  <c:v>508</c:v>
                </c:pt>
                <c:pt idx="13">
                  <c:v>543</c:v>
                </c:pt>
                <c:pt idx="14">
                  <c:v>569</c:v>
                </c:pt>
                <c:pt idx="15">
                  <c:v>594</c:v>
                </c:pt>
                <c:pt idx="16">
                  <c:v>612</c:v>
                </c:pt>
                <c:pt idx="17">
                  <c:v>635</c:v>
                </c:pt>
                <c:pt idx="18">
                  <c:v>655</c:v>
                </c:pt>
                <c:pt idx="19">
                  <c:v>674</c:v>
                </c:pt>
                <c:pt idx="20">
                  <c:v>696</c:v>
                </c:pt>
                <c:pt idx="21">
                  <c:v>717</c:v>
                </c:pt>
                <c:pt idx="22">
                  <c:v>735</c:v>
                </c:pt>
                <c:pt idx="23">
                  <c:v>748</c:v>
                </c:pt>
                <c:pt idx="24">
                  <c:v>758</c:v>
                </c:pt>
                <c:pt idx="25">
                  <c:v>776</c:v>
                </c:pt>
                <c:pt idx="26">
                  <c:v>789</c:v>
                </c:pt>
                <c:pt idx="27">
                  <c:v>798</c:v>
                </c:pt>
                <c:pt idx="28">
                  <c:v>811</c:v>
                </c:pt>
                <c:pt idx="29">
                  <c:v>826</c:v>
                </c:pt>
                <c:pt idx="30">
                  <c:v>837</c:v>
                </c:pt>
                <c:pt idx="31">
                  <c:v>844</c:v>
                </c:pt>
                <c:pt idx="32">
                  <c:v>863</c:v>
                </c:pt>
                <c:pt idx="33">
                  <c:v>872</c:v>
                </c:pt>
                <c:pt idx="34">
                  <c:v>887</c:v>
                </c:pt>
                <c:pt idx="35">
                  <c:v>892</c:v>
                </c:pt>
                <c:pt idx="36">
                  <c:v>900</c:v>
                </c:pt>
                <c:pt idx="37">
                  <c:v>907</c:v>
                </c:pt>
                <c:pt idx="38">
                  <c:v>909</c:v>
                </c:pt>
                <c:pt idx="39">
                  <c:v>918</c:v>
                </c:pt>
                <c:pt idx="40">
                  <c:v>926</c:v>
                </c:pt>
                <c:pt idx="41">
                  <c:v>935</c:v>
                </c:pt>
                <c:pt idx="42">
                  <c:v>941</c:v>
                </c:pt>
                <c:pt idx="43">
                  <c:v>944</c:v>
                </c:pt>
                <c:pt idx="44">
                  <c:v>944</c:v>
                </c:pt>
                <c:pt idx="45">
                  <c:v>949</c:v>
                </c:pt>
                <c:pt idx="46">
                  <c:v>958</c:v>
                </c:pt>
                <c:pt idx="47">
                  <c:v>962</c:v>
                </c:pt>
                <c:pt idx="48">
                  <c:v>964</c:v>
                </c:pt>
                <c:pt idx="49">
                  <c:v>966</c:v>
                </c:pt>
                <c:pt idx="50">
                  <c:v>968</c:v>
                </c:pt>
                <c:pt idx="51">
                  <c:v>969</c:v>
                </c:pt>
                <c:pt idx="52">
                  <c:v>974</c:v>
                </c:pt>
                <c:pt idx="53">
                  <c:v>975</c:v>
                </c:pt>
                <c:pt idx="54">
                  <c:v>978</c:v>
                </c:pt>
                <c:pt idx="55">
                  <c:v>980</c:v>
                </c:pt>
                <c:pt idx="56">
                  <c:v>981</c:v>
                </c:pt>
                <c:pt idx="57">
                  <c:v>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8.54046562990345</c:v>
                </c:pt>
                <c:pt idx="27">
                  <c:v>801.64747590273294</c:v>
                </c:pt>
                <c:pt idx="28">
                  <c:v>814.25754280898809</c:v>
                </c:pt>
                <c:pt idx="29">
                  <c:v>826.41664124657143</c:v>
                </c:pt>
                <c:pt idx="30">
                  <c:v>838.16196070471597</c:v>
                </c:pt>
                <c:pt idx="31">
                  <c:v>849.59818523331228</c:v>
                </c:pt>
                <c:pt idx="32">
                  <c:v>860.75226340396296</c:v>
                </c:pt>
                <c:pt idx="33">
                  <c:v>871.56975634776404</c:v>
                </c:pt>
                <c:pt idx="34">
                  <c:v>882.05711308579885</c:v>
                </c:pt>
                <c:pt idx="35">
                  <c:v>892.18785608550843</c:v>
                </c:pt>
                <c:pt idx="36">
                  <c:v>901.93166427726771</c:v>
                </c:pt>
                <c:pt idx="37">
                  <c:v>911.24274099033607</c:v>
                </c:pt>
                <c:pt idx="38">
                  <c:v>920.1390022691603</c:v>
                </c:pt>
                <c:pt idx="39">
                  <c:v>928.64230317416332</c:v>
                </c:pt>
                <c:pt idx="40">
                  <c:v>936.76092505554129</c:v>
                </c:pt>
                <c:pt idx="41">
                  <c:v>944.51273190445943</c:v>
                </c:pt>
                <c:pt idx="42">
                  <c:v>951.90915558069059</c:v>
                </c:pt>
                <c:pt idx="43">
                  <c:v>958.95872000952113</c:v>
                </c:pt>
                <c:pt idx="44">
                  <c:v>965.66997264412339</c:v>
                </c:pt>
                <c:pt idx="45">
                  <c:v>972.0673559421399</c:v>
                </c:pt>
                <c:pt idx="46">
                  <c:v>978.16602505568926</c:v>
                </c:pt>
                <c:pt idx="47">
                  <c:v>983.97735329631689</c:v>
                </c:pt>
                <c:pt idx="48">
                  <c:v>989.51832897258771</c:v>
                </c:pt>
                <c:pt idx="49">
                  <c:v>994.80061308012432</c:v>
                </c:pt>
                <c:pt idx="50">
                  <c:v>999.83660137793072</c:v>
                </c:pt>
                <c:pt idx="51">
                  <c:v>1004.6379022645228</c:v>
                </c:pt>
                <c:pt idx="52">
                  <c:v>1009.2148241688934</c:v>
                </c:pt>
                <c:pt idx="53">
                  <c:v>1013.5817832776257</c:v>
                </c:pt>
                <c:pt idx="54">
                  <c:v>1017.7507101202315</c:v>
                </c:pt>
                <c:pt idx="55">
                  <c:v>1021.7281162653818</c:v>
                </c:pt>
                <c:pt idx="56">
                  <c:v>1025.5251752619479</c:v>
                </c:pt>
                <c:pt idx="57">
                  <c:v>1029.1501782145201</c:v>
                </c:pt>
                <c:pt idx="58">
                  <c:v>1032.6106675380838</c:v>
                </c:pt>
                <c:pt idx="59">
                  <c:v>1035.9163429468383</c:v>
                </c:pt>
                <c:pt idx="60">
                  <c:v>1039.074603026032</c:v>
                </c:pt>
                <c:pt idx="61">
                  <c:v>1042.0922569329039</c:v>
                </c:pt>
                <c:pt idx="62">
                  <c:v>1044.9783751203349</c:v>
                </c:pt>
                <c:pt idx="63">
                  <c:v>1047.7373424066727</c:v>
                </c:pt>
                <c:pt idx="64">
                  <c:v>1050.3774977957653</c:v>
                </c:pt>
                <c:pt idx="65">
                  <c:v>1052.9028383132922</c:v>
                </c:pt>
                <c:pt idx="66">
                  <c:v>1055.321370890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8.86868442168907</c:v>
                </c:pt>
                <c:pt idx="27">
                  <c:v>802.55123533186179</c:v>
                </c:pt>
                <c:pt idx="28">
                  <c:v>815.90283180999154</c:v>
                </c:pt>
                <c:pt idx="29">
                  <c:v>828.91932315238284</c:v>
                </c:pt>
                <c:pt idx="30">
                  <c:v>841.6737757669049</c:v>
                </c:pt>
                <c:pt idx="31">
                  <c:v>854.30304266293638</c:v>
                </c:pt>
                <c:pt idx="32">
                  <c:v>866.85581797577754</c:v>
                </c:pt>
                <c:pt idx="33">
                  <c:v>879.29075358456419</c:v>
                </c:pt>
                <c:pt idx="34">
                  <c:v>891.56689691883173</c:v>
                </c:pt>
                <c:pt idx="35">
                  <c:v>903.6338030756765</c:v>
                </c:pt>
                <c:pt idx="36">
                  <c:v>915.45075748513693</c:v>
                </c:pt>
                <c:pt idx="37">
                  <c:v>926.98164550630554</c:v>
                </c:pt>
                <c:pt idx="38">
                  <c:v>938.23972000926358</c:v>
                </c:pt>
                <c:pt idx="39">
                  <c:v>949.23296873375966</c:v>
                </c:pt>
                <c:pt idx="40">
                  <c:v>959.94875200452316</c:v>
                </c:pt>
                <c:pt idx="41">
                  <c:v>970.3866027849208</c:v>
                </c:pt>
                <c:pt idx="42">
                  <c:v>980.55514002663585</c:v>
                </c:pt>
                <c:pt idx="43">
                  <c:v>990.45549155762831</c:v>
                </c:pt>
                <c:pt idx="44">
                  <c:v>1000.0862698539266</c:v>
                </c:pt>
                <c:pt idx="45">
                  <c:v>1009.4613372246795</c:v>
                </c:pt>
                <c:pt idx="46">
                  <c:v>1018.5906520626908</c:v>
                </c:pt>
                <c:pt idx="47">
                  <c:v>1027.476331527201</c:v>
                </c:pt>
                <c:pt idx="48">
                  <c:v>1036.1229999088227</c:v>
                </c:pt>
                <c:pt idx="49">
                  <c:v>1044.5420699061992</c:v>
                </c:pt>
                <c:pt idx="50">
                  <c:v>1052.7358640205989</c:v>
                </c:pt>
                <c:pt idx="51">
                  <c:v>1060.7116826205934</c:v>
                </c:pt>
                <c:pt idx="52">
                  <c:v>1068.4742006275626</c:v>
                </c:pt>
                <c:pt idx="53">
                  <c:v>1076.0321275510551</c:v>
                </c:pt>
                <c:pt idx="54">
                  <c:v>1083.3917817736299</c:v>
                </c:pt>
                <c:pt idx="55">
                  <c:v>1090.5566806241777</c:v>
                </c:pt>
                <c:pt idx="56">
                  <c:v>1097.533182568191</c:v>
                </c:pt>
                <c:pt idx="57">
                  <c:v>1104.3269464161403</c:v>
                </c:pt>
                <c:pt idx="58">
                  <c:v>1110.9410425822039</c:v>
                </c:pt>
                <c:pt idx="59">
                  <c:v>1117.3829079699894</c:v>
                </c:pt>
                <c:pt idx="60">
                  <c:v>1123.6557836116722</c:v>
                </c:pt>
                <c:pt idx="61">
                  <c:v>1129.767001231379</c:v>
                </c:pt>
                <c:pt idx="62">
                  <c:v>1135.7197104438465</c:v>
                </c:pt>
                <c:pt idx="63">
                  <c:v>1141.5187432991208</c:v>
                </c:pt>
                <c:pt idx="64">
                  <c:v>1147.1691345770412</c:v>
                </c:pt>
                <c:pt idx="65">
                  <c:v>1152.6734798480766</c:v>
                </c:pt>
                <c:pt idx="66">
                  <c:v>1158.0363194572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9.19441670747494</c:v>
                </c:pt>
                <c:pt idx="27">
                  <c:v>803.4519908806443</c:v>
                </c:pt>
                <c:pt idx="28">
                  <c:v>817.5448762924085</c:v>
                </c:pt>
                <c:pt idx="29">
                  <c:v>831.4185248110764</c:v>
                </c:pt>
                <c:pt idx="30">
                  <c:v>845.19677584451631</c:v>
                </c:pt>
                <c:pt idx="31">
                  <c:v>859.0617057349566</c:v>
                </c:pt>
                <c:pt idx="32">
                  <c:v>873.09473256557533</c:v>
                </c:pt>
                <c:pt idx="33">
                  <c:v>887.27156966630787</c:v>
                </c:pt>
                <c:pt idx="34">
                  <c:v>901.49961553626576</c:v>
                </c:pt>
                <c:pt idx="35">
                  <c:v>915.70372919648742</c:v>
                </c:pt>
                <c:pt idx="36">
                  <c:v>929.84998102449288</c:v>
                </c:pt>
                <c:pt idx="37">
                  <c:v>943.92738415111671</c:v>
                </c:pt>
                <c:pt idx="38">
                  <c:v>957.94497633210915</c:v>
                </c:pt>
                <c:pt idx="39">
                  <c:v>971.8970060864018</c:v>
                </c:pt>
                <c:pt idx="40">
                  <c:v>985.75945369108581</c:v>
                </c:pt>
                <c:pt idx="41">
                  <c:v>999.51473091165064</c:v>
                </c:pt>
                <c:pt idx="42">
                  <c:v>1013.1658956760385</c:v>
                </c:pt>
                <c:pt idx="43">
                  <c:v>1026.7178058303582</c:v>
                </c:pt>
                <c:pt idx="44">
                  <c:v>1040.1699854646415</c:v>
                </c:pt>
                <c:pt idx="45">
                  <c:v>1053.524221134857</c:v>
                </c:pt>
                <c:pt idx="46">
                  <c:v>1066.7741118248678</c:v>
                </c:pt>
                <c:pt idx="47">
                  <c:v>1079.9164045834134</c:v>
                </c:pt>
                <c:pt idx="48">
                  <c:v>1092.9569511962202</c:v>
                </c:pt>
                <c:pt idx="49">
                  <c:v>1105.8976817587427</c:v>
                </c:pt>
                <c:pt idx="50">
                  <c:v>1118.7398007911549</c:v>
                </c:pt>
                <c:pt idx="51">
                  <c:v>1131.4809173730994</c:v>
                </c:pt>
                <c:pt idx="52">
                  <c:v>1144.1218171856656</c:v>
                </c:pt>
                <c:pt idx="53">
                  <c:v>1156.6635865466931</c:v>
                </c:pt>
                <c:pt idx="54">
                  <c:v>1169.1068346730531</c:v>
                </c:pt>
                <c:pt idx="55">
                  <c:v>1181.4570129278768</c:v>
                </c:pt>
                <c:pt idx="56">
                  <c:v>1193.711693411947</c:v>
                </c:pt>
                <c:pt idx="57">
                  <c:v>1205.8708075556156</c:v>
                </c:pt>
                <c:pt idx="58">
                  <c:v>1217.9371748491862</c:v>
                </c:pt>
                <c:pt idx="59">
                  <c:v>1229.9066773746522</c:v>
                </c:pt>
                <c:pt idx="60">
                  <c:v>1241.7838165514549</c:v>
                </c:pt>
                <c:pt idx="61">
                  <c:v>1253.5697022120762</c:v>
                </c:pt>
                <c:pt idx="62">
                  <c:v>1265.2648120104657</c:v>
                </c:pt>
                <c:pt idx="63">
                  <c:v>1276.8695209516384</c:v>
                </c:pt>
                <c:pt idx="64">
                  <c:v>1288.3841950395686</c:v>
                </c:pt>
                <c:pt idx="65">
                  <c:v>1299.811605038677</c:v>
                </c:pt>
                <c:pt idx="66">
                  <c:v>1311.1500844132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9.68425838915357</c:v>
                </c:pt>
                <c:pt idx="27">
                  <c:v>804.80711264998956</c:v>
                </c:pt>
                <c:pt idx="28">
                  <c:v>820.01381240867113</c:v>
                </c:pt>
                <c:pt idx="29">
                  <c:v>835.17381388143292</c:v>
                </c:pt>
                <c:pt idx="30">
                  <c:v>850.5218133086039</c:v>
                </c:pt>
                <c:pt idx="31">
                  <c:v>866.32853918452975</c:v>
                </c:pt>
                <c:pt idx="32">
                  <c:v>882.73805381168313</c:v>
                </c:pt>
                <c:pt idx="33">
                  <c:v>899.76515176393787</c:v>
                </c:pt>
                <c:pt idx="34">
                  <c:v>917.23302206800156</c:v>
                </c:pt>
                <c:pt idx="35">
                  <c:v>935.04422614263569</c:v>
                </c:pt>
                <c:pt idx="36">
                  <c:v>953.19387564441183</c:v>
                </c:pt>
                <c:pt idx="37">
                  <c:v>971.74202700554963</c:v>
                </c:pt>
                <c:pt idx="38">
                  <c:v>990.71647495389198</c:v>
                </c:pt>
                <c:pt idx="39">
                  <c:v>1010.0976723317374</c:v>
                </c:pt>
                <c:pt idx="40">
                  <c:v>1029.8404761060992</c:v>
                </c:pt>
                <c:pt idx="41">
                  <c:v>1049.9200089207673</c:v>
                </c:pt>
                <c:pt idx="42">
                  <c:v>1070.364373902747</c:v>
                </c:pt>
                <c:pt idx="43">
                  <c:v>1091.2043589805596</c:v>
                </c:pt>
                <c:pt idx="44">
                  <c:v>1112.4519034397395</c:v>
                </c:pt>
                <c:pt idx="45">
                  <c:v>1134.0984731004451</c:v>
                </c:pt>
                <c:pt idx="46">
                  <c:v>1156.1336072028923</c:v>
                </c:pt>
                <c:pt idx="47">
                  <c:v>1178.5551085971765</c:v>
                </c:pt>
                <c:pt idx="48">
                  <c:v>1201.3852218999432</c:v>
                </c:pt>
                <c:pt idx="49">
                  <c:v>1224.645523706125</c:v>
                </c:pt>
                <c:pt idx="50">
                  <c:v>1248.3408429121755</c:v>
                </c:pt>
                <c:pt idx="51">
                  <c:v>1272.4694310346822</c:v>
                </c:pt>
                <c:pt idx="52">
                  <c:v>1297.0294012305008</c:v>
                </c:pt>
                <c:pt idx="53">
                  <c:v>1322.0308437950412</c:v>
                </c:pt>
                <c:pt idx="54">
                  <c:v>1347.4879668961862</c:v>
                </c:pt>
                <c:pt idx="55">
                  <c:v>1373.4158617933167</c:v>
                </c:pt>
                <c:pt idx="56">
                  <c:v>1399.8187814742091</c:v>
                </c:pt>
                <c:pt idx="57">
                  <c:v>1426.7002433056107</c:v>
                </c:pt>
                <c:pt idx="58">
                  <c:v>1454.0660536533203</c:v>
                </c:pt>
                <c:pt idx="59">
                  <c:v>1481.9273059245211</c:v>
                </c:pt>
                <c:pt idx="60">
                  <c:v>1510.2937882699889</c:v>
                </c:pt>
                <c:pt idx="61">
                  <c:v>1539.1751481570545</c:v>
                </c:pt>
                <c:pt idx="62">
                  <c:v>1568.5810355623832</c:v>
                </c:pt>
                <c:pt idx="63">
                  <c:v>1598.5186410718768</c:v>
                </c:pt>
                <c:pt idx="64">
                  <c:v>1628.9972129308026</c:v>
                </c:pt>
                <c:pt idx="65">
                  <c:v>1660.0264244995515</c:v>
                </c:pt>
                <c:pt idx="66">
                  <c:v>1691.61609855018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2</c:v>
                </c:pt>
                <c:pt idx="1">
                  <c:v>95</c:v>
                </c:pt>
                <c:pt idx="2">
                  <c:v>155</c:v>
                </c:pt>
                <c:pt idx="3">
                  <c:v>183</c:v>
                </c:pt>
                <c:pt idx="4">
                  <c:v>213</c:v>
                </c:pt>
                <c:pt idx="5">
                  <c:v>271</c:v>
                </c:pt>
                <c:pt idx="6">
                  <c:v>313</c:v>
                </c:pt>
                <c:pt idx="7">
                  <c:v>354</c:v>
                </c:pt>
                <c:pt idx="8">
                  <c:v>385</c:v>
                </c:pt>
                <c:pt idx="9">
                  <c:v>411</c:v>
                </c:pt>
                <c:pt idx="10">
                  <c:v>434</c:v>
                </c:pt>
                <c:pt idx="11">
                  <c:v>464</c:v>
                </c:pt>
                <c:pt idx="12">
                  <c:v>502</c:v>
                </c:pt>
                <c:pt idx="13">
                  <c:v>529</c:v>
                </c:pt>
                <c:pt idx="14">
                  <c:v>555</c:v>
                </c:pt>
                <c:pt idx="15">
                  <c:v>581</c:v>
                </c:pt>
                <c:pt idx="16">
                  <c:v>599</c:v>
                </c:pt>
                <c:pt idx="17">
                  <c:v>617</c:v>
                </c:pt>
                <c:pt idx="18">
                  <c:v>637</c:v>
                </c:pt>
                <c:pt idx="19">
                  <c:v>661</c:v>
                </c:pt>
                <c:pt idx="20">
                  <c:v>678</c:v>
                </c:pt>
                <c:pt idx="21">
                  <c:v>697</c:v>
                </c:pt>
                <c:pt idx="22">
                  <c:v>719</c:v>
                </c:pt>
                <c:pt idx="23">
                  <c:v>732</c:v>
                </c:pt>
                <c:pt idx="24">
                  <c:v>743</c:v>
                </c:pt>
                <c:pt idx="25">
                  <c:v>769</c:v>
                </c:pt>
                <c:pt idx="26">
                  <c:v>797</c:v>
                </c:pt>
                <c:pt idx="27">
                  <c:v>813</c:v>
                </c:pt>
                <c:pt idx="28">
                  <c:v>835</c:v>
                </c:pt>
                <c:pt idx="29">
                  <c:v>858</c:v>
                </c:pt>
                <c:pt idx="30">
                  <c:v>879</c:v>
                </c:pt>
                <c:pt idx="31">
                  <c:v>892</c:v>
                </c:pt>
                <c:pt idx="32">
                  <c:v>915</c:v>
                </c:pt>
                <c:pt idx="33">
                  <c:v>930</c:v>
                </c:pt>
                <c:pt idx="34">
                  <c:v>941</c:v>
                </c:pt>
                <c:pt idx="35">
                  <c:v>955</c:v>
                </c:pt>
                <c:pt idx="36">
                  <c:v>971</c:v>
                </c:pt>
                <c:pt idx="37">
                  <c:v>979</c:v>
                </c:pt>
                <c:pt idx="38">
                  <c:v>984</c:v>
                </c:pt>
                <c:pt idx="39">
                  <c:v>996</c:v>
                </c:pt>
                <c:pt idx="40">
                  <c:v>1003</c:v>
                </c:pt>
                <c:pt idx="41">
                  <c:v>1008</c:v>
                </c:pt>
                <c:pt idx="42">
                  <c:v>1013</c:v>
                </c:pt>
                <c:pt idx="43">
                  <c:v>1024</c:v>
                </c:pt>
                <c:pt idx="44">
                  <c:v>1030</c:v>
                </c:pt>
                <c:pt idx="45">
                  <c:v>1034</c:v>
                </c:pt>
                <c:pt idx="46">
                  <c:v>1038</c:v>
                </c:pt>
                <c:pt idx="47">
                  <c:v>1048</c:v>
                </c:pt>
                <c:pt idx="48">
                  <c:v>1054</c:v>
                </c:pt>
                <c:pt idx="49">
                  <c:v>1061</c:v>
                </c:pt>
                <c:pt idx="50">
                  <c:v>1067</c:v>
                </c:pt>
                <c:pt idx="51">
                  <c:v>1069</c:v>
                </c:pt>
                <c:pt idx="52">
                  <c:v>1069</c:v>
                </c:pt>
                <c:pt idx="53">
                  <c:v>1073</c:v>
                </c:pt>
                <c:pt idx="54">
                  <c:v>1076</c:v>
                </c:pt>
                <c:pt idx="55">
                  <c:v>1077</c:v>
                </c:pt>
                <c:pt idx="56">
                  <c:v>1077</c:v>
                </c:pt>
                <c:pt idx="57">
                  <c:v>1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3.54911386440051</c:v>
                </c:pt>
                <c:pt idx="27">
                  <c:v>797.62494453075033</c:v>
                </c:pt>
                <c:pt idx="28">
                  <c:v>811.16886549658193</c:v>
                </c:pt>
                <c:pt idx="29">
                  <c:v>824.23107337464216</c:v>
                </c:pt>
                <c:pt idx="30">
                  <c:v>836.84451138674751</c:v>
                </c:pt>
                <c:pt idx="31">
                  <c:v>849.11792482019109</c:v>
                </c:pt>
                <c:pt idx="32">
                  <c:v>861.07643944352094</c:v>
                </c:pt>
                <c:pt idx="33">
                  <c:v>872.6619267655401</c:v>
                </c:pt>
                <c:pt idx="34">
                  <c:v>883.8851439399125</c:v>
                </c:pt>
                <c:pt idx="35">
                  <c:v>894.72241114965664</c:v>
                </c:pt>
                <c:pt idx="36">
                  <c:v>905.14403156048979</c:v>
                </c:pt>
                <c:pt idx="37">
                  <c:v>915.10128104701596</c:v>
                </c:pt>
                <c:pt idx="38">
                  <c:v>924.61380074246608</c:v>
                </c:pt>
                <c:pt idx="39">
                  <c:v>933.70520401023168</c:v>
                </c:pt>
                <c:pt idx="40">
                  <c:v>942.38490225652458</c:v>
                </c:pt>
                <c:pt idx="41">
                  <c:v>950.67223897017686</c:v>
                </c:pt>
                <c:pt idx="42">
                  <c:v>958.57948665416734</c:v>
                </c:pt>
                <c:pt idx="43">
                  <c:v>966.11579290865507</c:v>
                </c:pt>
                <c:pt idx="44">
                  <c:v>973.29045370515223</c:v>
                </c:pt>
                <c:pt idx="45">
                  <c:v>980.12935862222673</c:v>
                </c:pt>
                <c:pt idx="46">
                  <c:v>986.64842981815343</c:v>
                </c:pt>
                <c:pt idx="47">
                  <c:v>992.86033442933808</c:v>
                </c:pt>
                <c:pt idx="48">
                  <c:v>998.78335830669255</c:v>
                </c:pt>
                <c:pt idx="49">
                  <c:v>1004.4298260498653</c:v>
                </c:pt>
                <c:pt idx="50">
                  <c:v>1009.8132390001485</c:v>
                </c:pt>
                <c:pt idx="51">
                  <c:v>1014.9458894100027</c:v>
                </c:pt>
                <c:pt idx="52">
                  <c:v>1019.8385618600014</c:v>
                </c:pt>
                <c:pt idx="53">
                  <c:v>1024.5066997722852</c:v>
                </c:pt>
                <c:pt idx="54">
                  <c:v>1028.9632965242979</c:v>
                </c:pt>
                <c:pt idx="55">
                  <c:v>1033.2151117348192</c:v>
                </c:pt>
                <c:pt idx="56">
                  <c:v>1037.274216843286</c:v>
                </c:pt>
                <c:pt idx="57">
                  <c:v>1041.1494770954982</c:v>
                </c:pt>
                <c:pt idx="58">
                  <c:v>1044.8489196347693</c:v>
                </c:pt>
                <c:pt idx="59">
                  <c:v>1048.3829459965416</c:v>
                </c:pt>
                <c:pt idx="60">
                  <c:v>1051.7594542827155</c:v>
                </c:pt>
                <c:pt idx="61">
                  <c:v>1054.985702145083</c:v>
                </c:pt>
                <c:pt idx="62">
                  <c:v>1058.0714327180556</c:v>
                </c:pt>
                <c:pt idx="63">
                  <c:v>1061.0212745443616</c:v>
                </c:pt>
                <c:pt idx="64">
                  <c:v>1063.844185387647</c:v>
                </c:pt>
                <c:pt idx="65">
                  <c:v>1066.5443874683394</c:v>
                </c:pt>
                <c:pt idx="66">
                  <c:v>1069.130489341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3.9081256524521</c:v>
                </c:pt>
                <c:pt idx="27">
                  <c:v>798.61339992580565</c:v>
                </c:pt>
                <c:pt idx="28">
                  <c:v>812.96729803292897</c:v>
                </c:pt>
                <c:pt idx="29">
                  <c:v>826.96450733103279</c:v>
                </c:pt>
                <c:pt idx="30">
                  <c:v>840.6764822015283</c:v>
                </c:pt>
                <c:pt idx="31">
                  <c:v>854.24629881561361</c:v>
                </c:pt>
                <c:pt idx="32">
                  <c:v>867.72221233196012</c:v>
                </c:pt>
                <c:pt idx="33">
                  <c:v>881.05996920487064</c:v>
                </c:pt>
                <c:pt idx="34">
                  <c:v>894.21842599802346</c:v>
                </c:pt>
                <c:pt idx="35">
                  <c:v>907.14775536382717</c:v>
                </c:pt>
                <c:pt idx="36">
                  <c:v>919.80717575646588</c:v>
                </c:pt>
                <c:pt idx="37">
                  <c:v>932.158818072136</c:v>
                </c:pt>
                <c:pt idx="38">
                  <c:v>944.2173901759827</c:v>
                </c:pt>
                <c:pt idx="39">
                  <c:v>955.99153548588879</c:v>
                </c:pt>
                <c:pt idx="40">
                  <c:v>967.46801540383217</c:v>
                </c:pt>
                <c:pt idx="41">
                  <c:v>978.64641744591631</c:v>
                </c:pt>
                <c:pt idx="42">
                  <c:v>989.53619382702743</c:v>
                </c:pt>
                <c:pt idx="43">
                  <c:v>1000.1386890873607</c:v>
                </c:pt>
                <c:pt idx="44">
                  <c:v>1010.4525372963574</c:v>
                </c:pt>
                <c:pt idx="45">
                  <c:v>1020.4922768293213</c:v>
                </c:pt>
                <c:pt idx="46">
                  <c:v>1030.2683580364089</c:v>
                </c:pt>
                <c:pt idx="47">
                  <c:v>1039.7835342350097</c:v>
                </c:pt>
                <c:pt idx="48">
                  <c:v>1049.0427668025995</c:v>
                </c:pt>
                <c:pt idx="49">
                  <c:v>1058.0582973686201</c:v>
                </c:pt>
                <c:pt idx="50">
                  <c:v>1066.83277161674</c:v>
                </c:pt>
                <c:pt idx="51">
                  <c:v>1075.3739141915044</c:v>
                </c:pt>
                <c:pt idx="52">
                  <c:v>1083.6864904567087</c:v>
                </c:pt>
                <c:pt idx="53">
                  <c:v>1091.7798353015792</c:v>
                </c:pt>
                <c:pt idx="54">
                  <c:v>1099.6609225254965</c:v>
                </c:pt>
                <c:pt idx="55">
                  <c:v>1107.3333762950838</c:v>
                </c:pt>
                <c:pt idx="56">
                  <c:v>1114.8041134393175</c:v>
                </c:pt>
                <c:pt idx="57">
                  <c:v>1122.0792284572017</c:v>
                </c:pt>
                <c:pt idx="58">
                  <c:v>1129.1619530710245</c:v>
                </c:pt>
                <c:pt idx="59">
                  <c:v>1136.0603023738809</c:v>
                </c:pt>
                <c:pt idx="60">
                  <c:v>1142.7777109509957</c:v>
                </c:pt>
                <c:pt idx="61">
                  <c:v>1149.3220826530246</c:v>
                </c:pt>
                <c:pt idx="62">
                  <c:v>1155.6967565510909</c:v>
                </c:pt>
                <c:pt idx="63">
                  <c:v>1161.9069066073641</c:v>
                </c:pt>
                <c:pt idx="64">
                  <c:v>1167.9579367081831</c:v>
                </c:pt>
                <c:pt idx="65">
                  <c:v>1173.8525833064739</c:v>
                </c:pt>
                <c:pt idx="66">
                  <c:v>1179.595710521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4.26441765422896</c:v>
                </c:pt>
                <c:pt idx="27">
                  <c:v>799.59857032846992</c:v>
                </c:pt>
                <c:pt idx="28">
                  <c:v>814.76218976605674</c:v>
                </c:pt>
                <c:pt idx="29">
                  <c:v>829.69415134086069</c:v>
                </c:pt>
                <c:pt idx="30">
                  <c:v>844.52071566138454</c:v>
                </c:pt>
                <c:pt idx="31">
                  <c:v>859.433565356499</c:v>
                </c:pt>
                <c:pt idx="32">
                  <c:v>874.51604281952314</c:v>
                </c:pt>
                <c:pt idx="33">
                  <c:v>889.74202779332347</c:v>
                </c:pt>
                <c:pt idx="34">
                  <c:v>905.01370216812359</c:v>
                </c:pt>
                <c:pt idx="35">
                  <c:v>920.25413487301216</c:v>
                </c:pt>
                <c:pt idx="36">
                  <c:v>935.4300878613891</c:v>
                </c:pt>
                <c:pt idx="37">
                  <c:v>950.53128085274375</c:v>
                </c:pt>
                <c:pt idx="38">
                  <c:v>965.56780638469002</c:v>
                </c:pt>
                <c:pt idx="39">
                  <c:v>980.53331821369022</c:v>
                </c:pt>
                <c:pt idx="40">
                  <c:v>995.40224221032065</c:v>
                </c:pt>
                <c:pt idx="41">
                  <c:v>1010.1556193172162</c:v>
                </c:pt>
                <c:pt idx="42">
                  <c:v>1024.7969459305427</c:v>
                </c:pt>
                <c:pt idx="43">
                  <c:v>1039.33182140491</c:v>
                </c:pt>
                <c:pt idx="44">
                  <c:v>1053.7599944918654</c:v>
                </c:pt>
                <c:pt idx="45">
                  <c:v>1068.0829197278665</c:v>
                </c:pt>
                <c:pt idx="46">
                  <c:v>1082.2932761686152</c:v>
                </c:pt>
                <c:pt idx="47">
                  <c:v>1096.3880922269486</c:v>
                </c:pt>
                <c:pt idx="48">
                  <c:v>1110.3738346108007</c:v>
                </c:pt>
                <c:pt idx="49">
                  <c:v>1124.252513319519</c:v>
                </c:pt>
                <c:pt idx="50">
                  <c:v>1138.0256574837745</c:v>
                </c:pt>
                <c:pt idx="51">
                  <c:v>1151.6905277932374</c:v>
                </c:pt>
                <c:pt idx="52">
                  <c:v>1165.2477473027004</c:v>
                </c:pt>
                <c:pt idx="53">
                  <c:v>1178.6984361536993</c:v>
                </c:pt>
                <c:pt idx="54">
                  <c:v>1192.0434326770871</c:v>
                </c:pt>
                <c:pt idx="55">
                  <c:v>1205.2886044429565</c:v>
                </c:pt>
                <c:pt idx="56">
                  <c:v>1218.4313672327655</c:v>
                </c:pt>
                <c:pt idx="57">
                  <c:v>1231.4716439689332</c:v>
                </c:pt>
                <c:pt idx="58">
                  <c:v>1244.412500160066</c:v>
                </c:pt>
                <c:pt idx="59">
                  <c:v>1257.2494127191817</c:v>
                </c:pt>
                <c:pt idx="60">
                  <c:v>1269.9872799053683</c:v>
                </c:pt>
                <c:pt idx="61">
                  <c:v>1282.6273060538556</c:v>
                </c:pt>
                <c:pt idx="62">
                  <c:v>1295.1699937301796</c:v>
                </c:pt>
                <c:pt idx="63">
                  <c:v>1307.6157337036498</c:v>
                </c:pt>
                <c:pt idx="64">
                  <c:v>1319.9649111911572</c:v>
                </c:pt>
                <c:pt idx="65">
                  <c:v>1332.2205400019388</c:v>
                </c:pt>
                <c:pt idx="66">
                  <c:v>1344.3807830992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4.80021555003179</c:v>
                </c:pt>
                <c:pt idx="27">
                  <c:v>801.08068821493475</c:v>
                </c:pt>
                <c:pt idx="28">
                  <c:v>817.460942652884</c:v>
                </c:pt>
                <c:pt idx="29">
                  <c:v>833.79569562829602</c:v>
                </c:pt>
                <c:pt idx="30">
                  <c:v>850.33137135030745</c:v>
                </c:pt>
                <c:pt idx="31">
                  <c:v>867.3553236594164</c:v>
                </c:pt>
                <c:pt idx="32">
                  <c:v>885.01825247450051</c:v>
                </c:pt>
                <c:pt idx="33">
                  <c:v>903.33583514020461</c:v>
                </c:pt>
                <c:pt idx="34">
                  <c:v>922.11765047608333</c:v>
                </c:pt>
                <c:pt idx="35">
                  <c:v>941.26193594842641</c:v>
                </c:pt>
                <c:pt idx="36">
                  <c:v>960.76709457014624</c:v>
                </c:pt>
                <c:pt idx="37">
                  <c:v>980.70036463095107</c:v>
                </c:pt>
                <c:pt idx="38">
                  <c:v>1001.0920109716157</c:v>
                </c:pt>
                <c:pt idx="39">
                  <c:v>1021.920308878289</c:v>
                </c:pt>
                <c:pt idx="40">
                  <c:v>1043.1363987595917</c:v>
                </c:pt>
                <c:pt idx="41">
                  <c:v>1064.7132951021476</c:v>
                </c:pt>
                <c:pt idx="42">
                  <c:v>1086.6817574428123</c:v>
                </c:pt>
                <c:pt idx="43">
                  <c:v>1109.0756633173514</c:v>
                </c:pt>
                <c:pt idx="44">
                  <c:v>1131.9081449077562</c:v>
                </c:pt>
                <c:pt idx="45">
                  <c:v>1155.1692087486886</c:v>
                </c:pt>
                <c:pt idx="46">
                  <c:v>1178.8469503456033</c:v>
                </c:pt>
                <c:pt idx="47">
                  <c:v>1202.9394561797917</c:v>
                </c:pt>
                <c:pt idx="48">
                  <c:v>1227.4710259358806</c:v>
                </c:pt>
                <c:pt idx="49">
                  <c:v>1252.4650480974897</c:v>
                </c:pt>
                <c:pt idx="50">
                  <c:v>1277.9268598808621</c:v>
                </c:pt>
                <c:pt idx="51">
                  <c:v>1303.8542779325148</c:v>
                </c:pt>
                <c:pt idx="52">
                  <c:v>1330.2448701760684</c:v>
                </c:pt>
                <c:pt idx="53">
                  <c:v>1357.1094755307195</c:v>
                </c:pt>
                <c:pt idx="54">
                  <c:v>1384.4636705307489</c:v>
                </c:pt>
                <c:pt idx="55">
                  <c:v>1412.3237474696648</c:v>
                </c:pt>
                <c:pt idx="56">
                  <c:v>1440.6942748924434</c:v>
                </c:pt>
                <c:pt idx="57">
                  <c:v>1469.5789597840981</c:v>
                </c:pt>
                <c:pt idx="58">
                  <c:v>1498.9839917420477</c:v>
                </c:pt>
                <c:pt idx="59">
                  <c:v>1528.9213491917358</c:v>
                </c:pt>
                <c:pt idx="60">
                  <c:v>1559.4015706756395</c:v>
                </c:pt>
                <c:pt idx="61">
                  <c:v>1590.4350319673397</c:v>
                </c:pt>
                <c:pt idx="62">
                  <c:v>1622.0321154997177</c:v>
                </c:pt>
                <c:pt idx="63">
                  <c:v>1654.2005051377305</c:v>
                </c:pt>
                <c:pt idx="64">
                  <c:v>1686.9501346472746</c:v>
                </c:pt>
                <c:pt idx="65">
                  <c:v>1720.2914043942867</c:v>
                </c:pt>
                <c:pt idx="66">
                  <c:v>1754.2348732256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3</c:v>
                </c:pt>
                <c:pt idx="1">
                  <c:v>761</c:v>
                </c:pt>
                <c:pt idx="2">
                  <c:v>727</c:v>
                </c:pt>
                <c:pt idx="3">
                  <c:v>716</c:v>
                </c:pt>
                <c:pt idx="4">
                  <c:v>754</c:v>
                </c:pt>
                <c:pt idx="5">
                  <c:v>891</c:v>
                </c:pt>
                <c:pt idx="6">
                  <c:v>897</c:v>
                </c:pt>
                <c:pt idx="7">
                  <c:v>827</c:v>
                </c:pt>
                <c:pt idx="8">
                  <c:v>773</c:v>
                </c:pt>
                <c:pt idx="9">
                  <c:v>702</c:v>
                </c:pt>
                <c:pt idx="10">
                  <c:v>677</c:v>
                </c:pt>
                <c:pt idx="11">
                  <c:v>693</c:v>
                </c:pt>
                <c:pt idx="12">
                  <c:v>652</c:v>
                </c:pt>
                <c:pt idx="13">
                  <c:v>614</c:v>
                </c:pt>
                <c:pt idx="14">
                  <c:v>580</c:v>
                </c:pt>
                <c:pt idx="15">
                  <c:v>542</c:v>
                </c:pt>
                <c:pt idx="16">
                  <c:v>507</c:v>
                </c:pt>
                <c:pt idx="17">
                  <c:v>507</c:v>
                </c:pt>
                <c:pt idx="18">
                  <c:v>522</c:v>
                </c:pt>
                <c:pt idx="19">
                  <c:v>514</c:v>
                </c:pt>
                <c:pt idx="20">
                  <c:v>494</c:v>
                </c:pt>
                <c:pt idx="21">
                  <c:v>463</c:v>
                </c:pt>
                <c:pt idx="22">
                  <c:v>406</c:v>
                </c:pt>
                <c:pt idx="23">
                  <c:v>358</c:v>
                </c:pt>
                <c:pt idx="24">
                  <c:v>346</c:v>
                </c:pt>
                <c:pt idx="25">
                  <c:v>362</c:v>
                </c:pt>
                <c:pt idx="26">
                  <c:v>349</c:v>
                </c:pt>
                <c:pt idx="27">
                  <c:v>340</c:v>
                </c:pt>
                <c:pt idx="28">
                  <c:v>313</c:v>
                </c:pt>
                <c:pt idx="29">
                  <c:v>300</c:v>
                </c:pt>
                <c:pt idx="30">
                  <c:v>280</c:v>
                </c:pt>
                <c:pt idx="31">
                  <c:v>279</c:v>
                </c:pt>
                <c:pt idx="32">
                  <c:v>279</c:v>
                </c:pt>
                <c:pt idx="33">
                  <c:v>262</c:v>
                </c:pt>
                <c:pt idx="34">
                  <c:v>239</c:v>
                </c:pt>
                <c:pt idx="35">
                  <c:v>218</c:v>
                </c:pt>
                <c:pt idx="36">
                  <c:v>214</c:v>
                </c:pt>
                <c:pt idx="37">
                  <c:v>192</c:v>
                </c:pt>
                <c:pt idx="38">
                  <c:v>182</c:v>
                </c:pt>
                <c:pt idx="39">
                  <c:v>197</c:v>
                </c:pt>
                <c:pt idx="40">
                  <c:v>190</c:v>
                </c:pt>
                <c:pt idx="41">
                  <c:v>180</c:v>
                </c:pt>
                <c:pt idx="42">
                  <c:v>175</c:v>
                </c:pt>
                <c:pt idx="43">
                  <c:v>165</c:v>
                </c:pt>
                <c:pt idx="44">
                  <c:v>142</c:v>
                </c:pt>
                <c:pt idx="45">
                  <c:v>130</c:v>
                </c:pt>
                <c:pt idx="46">
                  <c:v>131</c:v>
                </c:pt>
                <c:pt idx="47">
                  <c:v>127</c:v>
                </c:pt>
                <c:pt idx="48">
                  <c:v>115</c:v>
                </c:pt>
                <c:pt idx="49">
                  <c:v>103</c:v>
                </c:pt>
                <c:pt idx="50">
                  <c:v>93</c:v>
                </c:pt>
                <c:pt idx="51">
                  <c:v>82</c:v>
                </c:pt>
                <c:pt idx="52">
                  <c:v>80</c:v>
                </c:pt>
                <c:pt idx="53">
                  <c:v>88</c:v>
                </c:pt>
                <c:pt idx="54">
                  <c:v>72</c:v>
                </c:pt>
                <c:pt idx="55">
                  <c:v>67</c:v>
                </c:pt>
                <c:pt idx="56">
                  <c:v>62</c:v>
                </c:pt>
                <c:pt idx="57">
                  <c:v>5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63.06463109057131</c:v>
                </c:pt>
                <c:pt idx="27">
                  <c:v>348.59174856359783</c:v>
                </c:pt>
                <c:pt idx="28">
                  <c:v>334.7659067941679</c:v>
                </c:pt>
                <c:pt idx="29">
                  <c:v>321.60951546827522</c:v>
                </c:pt>
                <c:pt idx="30">
                  <c:v>309.34055438937634</c:v>
                </c:pt>
                <c:pt idx="31">
                  <c:v>298.12237722995746</c:v>
                </c:pt>
                <c:pt idx="32">
                  <c:v>287.59387732240219</c:v>
                </c:pt>
                <c:pt idx="33">
                  <c:v>277.23974906064217</c:v>
                </c:pt>
                <c:pt idx="34">
                  <c:v>267.16598369363811</c:v>
                </c:pt>
                <c:pt idx="35">
                  <c:v>257.5603288736412</c:v>
                </c:pt>
                <c:pt idx="36">
                  <c:v>248.39803778402953</c:v>
                </c:pt>
                <c:pt idx="37">
                  <c:v>239.61028339796383</c:v>
                </c:pt>
                <c:pt idx="38">
                  <c:v>231.25580823315437</c:v>
                </c:pt>
                <c:pt idx="39">
                  <c:v>223.01218088208839</c:v>
                </c:pt>
                <c:pt idx="40">
                  <c:v>214.70063197950131</c:v>
                </c:pt>
                <c:pt idx="41">
                  <c:v>206.50701198120052</c:v>
                </c:pt>
                <c:pt idx="42">
                  <c:v>198.54721680933045</c:v>
                </c:pt>
                <c:pt idx="43">
                  <c:v>190.81178857318582</c:v>
                </c:pt>
                <c:pt idx="44">
                  <c:v>183.2970367176415</c:v>
                </c:pt>
                <c:pt idx="45">
                  <c:v>176.02476255503771</c:v>
                </c:pt>
                <c:pt idx="46">
                  <c:v>168.89720331153029</c:v>
                </c:pt>
                <c:pt idx="47">
                  <c:v>161.94132041284195</c:v>
                </c:pt>
                <c:pt idx="48">
                  <c:v>155.21250162352624</c:v>
                </c:pt>
                <c:pt idx="49">
                  <c:v>148.68283256966441</c:v>
                </c:pt>
                <c:pt idx="50">
                  <c:v>142.36898221747077</c:v>
                </c:pt>
                <c:pt idx="51">
                  <c:v>136.29291534134853</c:v>
                </c:pt>
                <c:pt idx="52">
                  <c:v>130.45028786601571</c:v>
                </c:pt>
                <c:pt idx="53">
                  <c:v>124.818154556607</c:v>
                </c:pt>
                <c:pt idx="54">
                  <c:v>119.41456123633014</c:v>
                </c:pt>
                <c:pt idx="55">
                  <c:v>114.23083726559301</c:v>
                </c:pt>
                <c:pt idx="56">
                  <c:v>109.26713489554825</c:v>
                </c:pt>
                <c:pt idx="57">
                  <c:v>104.50568192705512</c:v>
                </c:pt>
                <c:pt idx="58">
                  <c:v>99.949564523828315</c:v>
                </c:pt>
                <c:pt idx="59">
                  <c:v>95.623139594190832</c:v>
                </c:pt>
                <c:pt idx="60">
                  <c:v>91.496114578813874</c:v>
                </c:pt>
                <c:pt idx="61">
                  <c:v>87.531860406610321</c:v>
                </c:pt>
                <c:pt idx="62">
                  <c:v>83.764523786721838</c:v>
                </c:pt>
                <c:pt idx="63">
                  <c:v>80.172140759050421</c:v>
                </c:pt>
                <c:pt idx="64">
                  <c:v>76.747178265312613</c:v>
                </c:pt>
                <c:pt idx="65">
                  <c:v>73.493304502213334</c:v>
                </c:pt>
                <c:pt idx="66">
                  <c:v>70.39361192080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63.63354043344498</c:v>
                </c:pt>
                <c:pt idx="27">
                  <c:v>350.14539313940361</c:v>
                </c:pt>
                <c:pt idx="28">
                  <c:v>337.55813238635784</c:v>
                </c:pt>
                <c:pt idx="29">
                  <c:v>325.78659832644126</c:v>
                </c:pt>
                <c:pt idx="30">
                  <c:v>315.09239558912753</c:v>
                </c:pt>
                <c:pt idx="31">
                  <c:v>305.67501567608184</c:v>
                </c:pt>
                <c:pt idx="32">
                  <c:v>297.19116383027153</c:v>
                </c:pt>
                <c:pt idx="33">
                  <c:v>289.1260841938705</c:v>
                </c:pt>
                <c:pt idx="34">
                  <c:v>281.47891049066794</c:v>
                </c:pt>
                <c:pt idx="35">
                  <c:v>274.37720610112763</c:v>
                </c:pt>
                <c:pt idx="36">
                  <c:v>267.76631919065125</c:v>
                </c:pt>
                <c:pt idx="37">
                  <c:v>261.58367646566575</c:v>
                </c:pt>
                <c:pt idx="38">
                  <c:v>255.87092689816811</c:v>
                </c:pt>
                <c:pt idx="39">
                  <c:v>250.27409744709735</c:v>
                </c:pt>
                <c:pt idx="40">
                  <c:v>244.56653576359378</c:v>
                </c:pt>
                <c:pt idx="41">
                  <c:v>238.8902848334973</c:v>
                </c:pt>
                <c:pt idx="42">
                  <c:v>233.35403562454707</c:v>
                </c:pt>
                <c:pt idx="43">
                  <c:v>227.94435121830699</c:v>
                </c:pt>
                <c:pt idx="44">
                  <c:v>222.64811153444492</c:v>
                </c:pt>
                <c:pt idx="45">
                  <c:v>217.47436853247115</c:v>
                </c:pt>
                <c:pt idx="46">
                  <c:v>212.32124740293881</c:v>
                </c:pt>
                <c:pt idx="47">
                  <c:v>207.20493748592651</c:v>
                </c:pt>
                <c:pt idx="48">
                  <c:v>202.16714811601838</c:v>
                </c:pt>
                <c:pt idx="49">
                  <c:v>197.19275096052928</c:v>
                </c:pt>
                <c:pt idx="50">
                  <c:v>192.29496793635008</c:v>
                </c:pt>
                <c:pt idx="51">
                  <c:v>187.50117560635704</c:v>
                </c:pt>
                <c:pt idx="52">
                  <c:v>182.80845334298272</c:v>
                </c:pt>
                <c:pt idx="53">
                  <c:v>178.19565009374233</c:v>
                </c:pt>
                <c:pt idx="54">
                  <c:v>173.68349209447422</c:v>
                </c:pt>
                <c:pt idx="55">
                  <c:v>169.27079448316988</c:v>
                </c:pt>
                <c:pt idx="56">
                  <c:v>164.96259501824474</c:v>
                </c:pt>
                <c:pt idx="57">
                  <c:v>160.74854561389219</c:v>
                </c:pt>
                <c:pt idx="58">
                  <c:v>156.63495592412005</c:v>
                </c:pt>
                <c:pt idx="59">
                  <c:v>152.65317883475933</c:v>
                </c:pt>
                <c:pt idx="60">
                  <c:v>148.77648255147457</c:v>
                </c:pt>
                <c:pt idx="61">
                  <c:v>144.97898690814486</c:v>
                </c:pt>
                <c:pt idx="62">
                  <c:v>141.29385317371577</c:v>
                </c:pt>
                <c:pt idx="63">
                  <c:v>137.70881243513929</c:v>
                </c:pt>
                <c:pt idx="64">
                  <c:v>134.21914249770919</c:v>
                </c:pt>
                <c:pt idx="65">
                  <c:v>130.8340403190507</c:v>
                </c:pt>
                <c:pt idx="66">
                  <c:v>127.53800302763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64.19813985705446</c:v>
                </c:pt>
                <c:pt idx="27">
                  <c:v>351.69392846486153</c:v>
                </c:pt>
                <c:pt idx="28">
                  <c:v>340.34503503809287</c:v>
                </c:pt>
                <c:pt idx="29">
                  <c:v>329.95822318215539</c:v>
                </c:pt>
                <c:pt idx="30">
                  <c:v>320.86452899844113</c:v>
                </c:pt>
                <c:pt idx="31">
                  <c:v>313.32162476269855</c:v>
                </c:pt>
                <c:pt idx="32">
                  <c:v>307.02142568694597</c:v>
                </c:pt>
                <c:pt idx="33">
                  <c:v>301.45386591152641</c:v>
                </c:pt>
                <c:pt idx="34">
                  <c:v>296.50017276305243</c:v>
                </c:pt>
                <c:pt idx="35">
                  <c:v>292.22223450989202</c:v>
                </c:pt>
                <c:pt idx="36">
                  <c:v>288.56087117619813</c:v>
                </c:pt>
                <c:pt idx="37">
                  <c:v>285.48133775443546</c:v>
                </c:pt>
                <c:pt idx="38">
                  <c:v>283.00242532344981</c:v>
                </c:pt>
                <c:pt idx="39">
                  <c:v>280.7316499067187</c:v>
                </c:pt>
                <c:pt idx="40">
                  <c:v>278.40379073825875</c:v>
                </c:pt>
                <c:pt idx="41">
                  <c:v>276.11164483921294</c:v>
                </c:pt>
                <c:pt idx="42">
                  <c:v>273.94429406976496</c:v>
                </c:pt>
                <c:pt idx="43">
                  <c:v>271.8961473263642</c:v>
                </c:pt>
                <c:pt idx="44">
                  <c:v>269.95545776396779</c:v>
                </c:pt>
                <c:pt idx="45">
                  <c:v>268.10701329416145</c:v>
                </c:pt>
                <c:pt idx="46">
                  <c:v>266.21655027955177</c:v>
                </c:pt>
                <c:pt idx="47">
                  <c:v>264.28829909796218</c:v>
                </c:pt>
                <c:pt idx="48">
                  <c:v>262.36684227919704</c:v>
                </c:pt>
                <c:pt idx="49">
                  <c:v>260.42726280422278</c:v>
                </c:pt>
                <c:pt idx="50">
                  <c:v>258.48858156910615</c:v>
                </c:pt>
                <c:pt idx="51">
                  <c:v>256.56737564429682</c:v>
                </c:pt>
                <c:pt idx="52">
                  <c:v>254.65851836463517</c:v>
                </c:pt>
                <c:pt idx="53">
                  <c:v>252.73393368046555</c:v>
                </c:pt>
                <c:pt idx="54">
                  <c:v>250.81240731021509</c:v>
                </c:pt>
                <c:pt idx="55">
                  <c:v>248.90457006867078</c:v>
                </c:pt>
                <c:pt idx="56">
                  <c:v>247.00959928190636</c:v>
                </c:pt>
                <c:pt idx="57">
                  <c:v>245.11590302919535</c:v>
                </c:pt>
                <c:pt idx="58">
                  <c:v>243.23706513225235</c:v>
                </c:pt>
                <c:pt idx="59">
                  <c:v>241.39232091482199</c:v>
                </c:pt>
                <c:pt idx="60">
                  <c:v>239.56626291316582</c:v>
                </c:pt>
                <c:pt idx="61">
                  <c:v>237.73110295980922</c:v>
                </c:pt>
                <c:pt idx="62">
                  <c:v>235.92365858518116</c:v>
                </c:pt>
                <c:pt idx="63">
                  <c:v>234.13193364492534</c:v>
                </c:pt>
                <c:pt idx="64">
                  <c:v>232.35138843316273</c:v>
                </c:pt>
                <c:pt idx="65">
                  <c:v>230.59966693612324</c:v>
                </c:pt>
                <c:pt idx="66">
                  <c:v>228.85825467519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65.04719395210066</c:v>
                </c:pt>
                <c:pt idx="27">
                  <c:v>354.02359599748638</c:v>
                </c:pt>
                <c:pt idx="28">
                  <c:v>344.53531469590274</c:v>
                </c:pt>
                <c:pt idx="29">
                  <c:v>336.22626703258123</c:v>
                </c:pt>
                <c:pt idx="30">
                  <c:v>329.59181614816879</c:v>
                </c:pt>
                <c:pt idx="31">
                  <c:v>325.0117037405646</c:v>
                </c:pt>
                <c:pt idx="32">
                  <c:v>322.25089560620813</c:v>
                </c:pt>
                <c:pt idx="33">
                  <c:v>320.82465622778403</c:v>
                </c:pt>
                <c:pt idx="34">
                  <c:v>320.41881286780585</c:v>
                </c:pt>
                <c:pt idx="35">
                  <c:v>321.01437557670675</c:v>
                </c:pt>
                <c:pt idx="36">
                  <c:v>322.56913709228087</c:v>
                </c:pt>
                <c:pt idx="37">
                  <c:v>325.13731681123124</c:v>
                </c:pt>
                <c:pt idx="38">
                  <c:v>328.73373479209073</c:v>
                </c:pt>
                <c:pt idx="39">
                  <c:v>332.90459366884818</c:v>
                </c:pt>
                <c:pt idx="40">
                  <c:v>337.30312141166451</c:v>
                </c:pt>
                <c:pt idx="41">
                  <c:v>341.9630595567213</c:v>
                </c:pt>
                <c:pt idx="42">
                  <c:v>346.98447147028219</c:v>
                </c:pt>
                <c:pt idx="43">
                  <c:v>352.38969906159889</c:v>
                </c:pt>
                <c:pt idx="44">
                  <c:v>358.1666535781049</c:v>
                </c:pt>
                <c:pt idx="45">
                  <c:v>364.2536804453826</c:v>
                </c:pt>
                <c:pt idx="46">
                  <c:v>370.4792602234279</c:v>
                </c:pt>
                <c:pt idx="47">
                  <c:v>376.82161259076167</c:v>
                </c:pt>
                <c:pt idx="48">
                  <c:v>383.33141750282698</c:v>
                </c:pt>
                <c:pt idx="49">
                  <c:v>390.00420401151803</c:v>
                </c:pt>
                <c:pt idx="50">
                  <c:v>396.8517676491216</c:v>
                </c:pt>
                <c:pt idx="51">
                  <c:v>403.8742939473392</c:v>
                </c:pt>
                <c:pt idx="52">
                  <c:v>411.04180480385344</c:v>
                </c:pt>
                <c:pt idx="53">
                  <c:v>418.32493320766679</c:v>
                </c:pt>
                <c:pt idx="54">
                  <c:v>425.75269647614834</c:v>
                </c:pt>
                <c:pt idx="55">
                  <c:v>433.34019513582859</c:v>
                </c:pt>
                <c:pt idx="56">
                  <c:v>441.08653554103387</c:v>
                </c:pt>
                <c:pt idx="57">
                  <c:v>448.97255137345286</c:v>
                </c:pt>
                <c:pt idx="58">
                  <c:v>457.00210717940951</c:v>
                </c:pt>
                <c:pt idx="59">
                  <c:v>465.20738917202493</c:v>
                </c:pt>
                <c:pt idx="60">
                  <c:v>473.57063792741326</c:v>
                </c:pt>
                <c:pt idx="61">
                  <c:v>482.06691765761332</c:v>
                </c:pt>
                <c:pt idx="62">
                  <c:v>490.73610465273612</c:v>
                </c:pt>
                <c:pt idx="63">
                  <c:v>499.56452026469367</c:v>
                </c:pt>
                <c:pt idx="64">
                  <c:v>508.54959105725959</c:v>
                </c:pt>
                <c:pt idx="65">
                  <c:v>517.70785213225304</c:v>
                </c:pt>
                <c:pt idx="66">
                  <c:v>527.0280241363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69</c:v>
                </c:pt>
                <c:pt idx="1">
                  <c:v>1269</c:v>
                </c:pt>
                <c:pt idx="2">
                  <c:v>1269</c:v>
                </c:pt>
                <c:pt idx="3">
                  <c:v>1269</c:v>
                </c:pt>
                <c:pt idx="4">
                  <c:v>1269</c:v>
                </c:pt>
                <c:pt idx="5">
                  <c:v>1269</c:v>
                </c:pt>
                <c:pt idx="6">
                  <c:v>1269</c:v>
                </c:pt>
                <c:pt idx="7">
                  <c:v>1269</c:v>
                </c:pt>
                <c:pt idx="8">
                  <c:v>1269</c:v>
                </c:pt>
                <c:pt idx="9">
                  <c:v>1269</c:v>
                </c:pt>
                <c:pt idx="10">
                  <c:v>1269</c:v>
                </c:pt>
                <c:pt idx="11">
                  <c:v>1269</c:v>
                </c:pt>
                <c:pt idx="12">
                  <c:v>1269</c:v>
                </c:pt>
                <c:pt idx="13">
                  <c:v>1269</c:v>
                </c:pt>
                <c:pt idx="14">
                  <c:v>1269</c:v>
                </c:pt>
                <c:pt idx="15">
                  <c:v>1269</c:v>
                </c:pt>
                <c:pt idx="16">
                  <c:v>1269</c:v>
                </c:pt>
                <c:pt idx="17">
                  <c:v>1269</c:v>
                </c:pt>
                <c:pt idx="18">
                  <c:v>1269</c:v>
                </c:pt>
                <c:pt idx="19">
                  <c:v>1269</c:v>
                </c:pt>
                <c:pt idx="20">
                  <c:v>1269</c:v>
                </c:pt>
                <c:pt idx="21">
                  <c:v>1269</c:v>
                </c:pt>
                <c:pt idx="22">
                  <c:v>1269</c:v>
                </c:pt>
                <c:pt idx="23">
                  <c:v>1269</c:v>
                </c:pt>
                <c:pt idx="24">
                  <c:v>1269</c:v>
                </c:pt>
                <c:pt idx="25">
                  <c:v>1269</c:v>
                </c:pt>
                <c:pt idx="26">
                  <c:v>1269</c:v>
                </c:pt>
                <c:pt idx="27">
                  <c:v>1269</c:v>
                </c:pt>
                <c:pt idx="28">
                  <c:v>1269</c:v>
                </c:pt>
                <c:pt idx="29">
                  <c:v>1269</c:v>
                </c:pt>
                <c:pt idx="30">
                  <c:v>1269</c:v>
                </c:pt>
                <c:pt idx="31">
                  <c:v>1269</c:v>
                </c:pt>
                <c:pt idx="32">
                  <c:v>1269</c:v>
                </c:pt>
                <c:pt idx="33">
                  <c:v>1269</c:v>
                </c:pt>
                <c:pt idx="34">
                  <c:v>1269</c:v>
                </c:pt>
                <c:pt idx="35">
                  <c:v>1269</c:v>
                </c:pt>
                <c:pt idx="36">
                  <c:v>1269</c:v>
                </c:pt>
                <c:pt idx="37">
                  <c:v>1269</c:v>
                </c:pt>
                <c:pt idx="38">
                  <c:v>1269</c:v>
                </c:pt>
                <c:pt idx="39">
                  <c:v>1269</c:v>
                </c:pt>
                <c:pt idx="40">
                  <c:v>1269</c:v>
                </c:pt>
                <c:pt idx="41">
                  <c:v>1269</c:v>
                </c:pt>
                <c:pt idx="42">
                  <c:v>1269</c:v>
                </c:pt>
                <c:pt idx="43">
                  <c:v>1269</c:v>
                </c:pt>
                <c:pt idx="44">
                  <c:v>1269</c:v>
                </c:pt>
                <c:pt idx="45">
                  <c:v>1269</c:v>
                </c:pt>
                <c:pt idx="46">
                  <c:v>1269</c:v>
                </c:pt>
                <c:pt idx="47">
                  <c:v>1269</c:v>
                </c:pt>
                <c:pt idx="48">
                  <c:v>1269</c:v>
                </c:pt>
                <c:pt idx="49">
                  <c:v>1269</c:v>
                </c:pt>
                <c:pt idx="50">
                  <c:v>1269</c:v>
                </c:pt>
                <c:pt idx="51">
                  <c:v>1269</c:v>
                </c:pt>
                <c:pt idx="52">
                  <c:v>1269</c:v>
                </c:pt>
                <c:pt idx="53">
                  <c:v>1269</c:v>
                </c:pt>
                <c:pt idx="54">
                  <c:v>1269</c:v>
                </c:pt>
                <c:pt idx="55">
                  <c:v>1269</c:v>
                </c:pt>
                <c:pt idx="56">
                  <c:v>1269</c:v>
                </c:pt>
                <c:pt idx="57">
                  <c:v>1269</c:v>
                </c:pt>
                <c:pt idx="58">
                  <c:v>1269</c:v>
                </c:pt>
                <c:pt idx="59">
                  <c:v>1269</c:v>
                </c:pt>
                <c:pt idx="60">
                  <c:v>1269</c:v>
                </c:pt>
                <c:pt idx="61">
                  <c:v>1269</c:v>
                </c:pt>
                <c:pt idx="62">
                  <c:v>1269</c:v>
                </c:pt>
                <c:pt idx="63">
                  <c:v>1269</c:v>
                </c:pt>
                <c:pt idx="64">
                  <c:v>1269</c:v>
                </c:pt>
                <c:pt idx="65">
                  <c:v>1269</c:v>
                </c:pt>
                <c:pt idx="66">
                  <c:v>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</c:v>
                </c:pt>
                <c:pt idx="1">
                  <c:v>69</c:v>
                </c:pt>
                <c:pt idx="2">
                  <c:v>95</c:v>
                </c:pt>
                <c:pt idx="3">
                  <c:v>111</c:v>
                </c:pt>
                <c:pt idx="4">
                  <c:v>120</c:v>
                </c:pt>
                <c:pt idx="5">
                  <c:v>153</c:v>
                </c:pt>
                <c:pt idx="6">
                  <c:v>178</c:v>
                </c:pt>
                <c:pt idx="7">
                  <c:v>190</c:v>
                </c:pt>
                <c:pt idx="8">
                  <c:v>208</c:v>
                </c:pt>
                <c:pt idx="9">
                  <c:v>223</c:v>
                </c:pt>
                <c:pt idx="10">
                  <c:v>231</c:v>
                </c:pt>
                <c:pt idx="11">
                  <c:v>247</c:v>
                </c:pt>
                <c:pt idx="12">
                  <c:v>267</c:v>
                </c:pt>
                <c:pt idx="13">
                  <c:v>282</c:v>
                </c:pt>
                <c:pt idx="14">
                  <c:v>294</c:v>
                </c:pt>
                <c:pt idx="15">
                  <c:v>313</c:v>
                </c:pt>
                <c:pt idx="16">
                  <c:v>326</c:v>
                </c:pt>
                <c:pt idx="17">
                  <c:v>337</c:v>
                </c:pt>
                <c:pt idx="18">
                  <c:v>346</c:v>
                </c:pt>
                <c:pt idx="19">
                  <c:v>367</c:v>
                </c:pt>
                <c:pt idx="20">
                  <c:v>382</c:v>
                </c:pt>
                <c:pt idx="21">
                  <c:v>395</c:v>
                </c:pt>
                <c:pt idx="22">
                  <c:v>404</c:v>
                </c:pt>
                <c:pt idx="23">
                  <c:v>415</c:v>
                </c:pt>
                <c:pt idx="24">
                  <c:v>426</c:v>
                </c:pt>
                <c:pt idx="25">
                  <c:v>438</c:v>
                </c:pt>
                <c:pt idx="26">
                  <c:v>448</c:v>
                </c:pt>
                <c:pt idx="27">
                  <c:v>453</c:v>
                </c:pt>
                <c:pt idx="28">
                  <c:v>466</c:v>
                </c:pt>
                <c:pt idx="29">
                  <c:v>473</c:v>
                </c:pt>
                <c:pt idx="30">
                  <c:v>484</c:v>
                </c:pt>
                <c:pt idx="31">
                  <c:v>491</c:v>
                </c:pt>
                <c:pt idx="32">
                  <c:v>501</c:v>
                </c:pt>
                <c:pt idx="33">
                  <c:v>516</c:v>
                </c:pt>
                <c:pt idx="34">
                  <c:v>519</c:v>
                </c:pt>
                <c:pt idx="35">
                  <c:v>526</c:v>
                </c:pt>
                <c:pt idx="36">
                  <c:v>529</c:v>
                </c:pt>
                <c:pt idx="37">
                  <c:v>529</c:v>
                </c:pt>
                <c:pt idx="38">
                  <c:v>533</c:v>
                </c:pt>
                <c:pt idx="39">
                  <c:v>541</c:v>
                </c:pt>
                <c:pt idx="40">
                  <c:v>545</c:v>
                </c:pt>
                <c:pt idx="41">
                  <c:v>548</c:v>
                </c:pt>
                <c:pt idx="42">
                  <c:v>550</c:v>
                </c:pt>
                <c:pt idx="43">
                  <c:v>554</c:v>
                </c:pt>
                <c:pt idx="44">
                  <c:v>556</c:v>
                </c:pt>
                <c:pt idx="45">
                  <c:v>558</c:v>
                </c:pt>
                <c:pt idx="46">
                  <c:v>562</c:v>
                </c:pt>
                <c:pt idx="47">
                  <c:v>564</c:v>
                </c:pt>
                <c:pt idx="48">
                  <c:v>567</c:v>
                </c:pt>
                <c:pt idx="49">
                  <c:v>569</c:v>
                </c:pt>
                <c:pt idx="50">
                  <c:v>570</c:v>
                </c:pt>
                <c:pt idx="51">
                  <c:v>571</c:v>
                </c:pt>
                <c:pt idx="52">
                  <c:v>571</c:v>
                </c:pt>
                <c:pt idx="53">
                  <c:v>574</c:v>
                </c:pt>
                <c:pt idx="54">
                  <c:v>575</c:v>
                </c:pt>
                <c:pt idx="55">
                  <c:v>577</c:v>
                </c:pt>
                <c:pt idx="56">
                  <c:v>580</c:v>
                </c:pt>
                <c:pt idx="57">
                  <c:v>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46.0952626028166</c:v>
                </c:pt>
                <c:pt idx="27">
                  <c:v>454.89079517203714</c:v>
                </c:pt>
                <c:pt idx="28">
                  <c:v>463.35485929675968</c:v>
                </c:pt>
                <c:pt idx="29">
                  <c:v>471.51924312495669</c:v>
                </c:pt>
                <c:pt idx="30">
                  <c:v>479.40094765030517</c:v>
                </c:pt>
                <c:pt idx="31">
                  <c:v>487.0660404864405</c:v>
                </c:pt>
                <c:pt idx="32">
                  <c:v>494.52826733265431</c:v>
                </c:pt>
                <c:pt idx="33">
                  <c:v>501.7514768531409</c:v>
                </c:pt>
                <c:pt idx="34">
                  <c:v>508.74435398925982</c:v>
                </c:pt>
                <c:pt idx="35">
                  <c:v>515.49453825295234</c:v>
                </c:pt>
                <c:pt idx="36">
                  <c:v>521.9849412417218</c:v>
                </c:pt>
                <c:pt idx="37">
                  <c:v>528.18535131610111</c:v>
                </c:pt>
                <c:pt idx="38">
                  <c:v>534.10824694873077</c:v>
                </c:pt>
                <c:pt idx="39">
                  <c:v>539.76845656684486</c:v>
                </c:pt>
                <c:pt idx="40">
                  <c:v>545.17212642987488</c:v>
                </c:pt>
                <c:pt idx="41">
                  <c:v>550.33142515834572</c:v>
                </c:pt>
                <c:pt idx="42">
                  <c:v>555.25401921138882</c:v>
                </c:pt>
                <c:pt idx="43">
                  <c:v>559.94562135966305</c:v>
                </c:pt>
                <c:pt idx="44">
                  <c:v>564.41210016210198</c:v>
                </c:pt>
                <c:pt idx="45">
                  <c:v>568.66944894466724</c:v>
                </c:pt>
                <c:pt idx="46">
                  <c:v>572.7274359764682</c:v>
                </c:pt>
                <c:pt idx="47">
                  <c:v>576.594208727406</c:v>
                </c:pt>
                <c:pt idx="48">
                  <c:v>580.28121486920122</c:v>
                </c:pt>
                <c:pt idx="49">
                  <c:v>583.79605402573338</c:v>
                </c:pt>
                <c:pt idx="50">
                  <c:v>587.14725976045816</c:v>
                </c:pt>
                <c:pt idx="51">
                  <c:v>590.34242385213179</c:v>
                </c:pt>
                <c:pt idx="52">
                  <c:v>593.3881387958038</c:v>
                </c:pt>
                <c:pt idx="53">
                  <c:v>596.29403503606261</c:v>
                </c:pt>
                <c:pt idx="54">
                  <c:v>599.06832444965914</c:v>
                </c:pt>
                <c:pt idx="55">
                  <c:v>601.71511138721587</c:v>
                </c:pt>
                <c:pt idx="56">
                  <c:v>604.24197578494147</c:v>
                </c:pt>
                <c:pt idx="57">
                  <c:v>606.65443741707463</c:v>
                </c:pt>
                <c:pt idx="58">
                  <c:v>608.95747489664598</c:v>
                </c:pt>
                <c:pt idx="59">
                  <c:v>611.15758004782606</c:v>
                </c:pt>
                <c:pt idx="60">
                  <c:v>613.25966387427354</c:v>
                </c:pt>
                <c:pt idx="61">
                  <c:v>615.26823336386769</c:v>
                </c:pt>
                <c:pt idx="62">
                  <c:v>617.18937782867602</c:v>
                </c:pt>
                <c:pt idx="63">
                  <c:v>619.0259483085016</c:v>
                </c:pt>
                <c:pt idx="64">
                  <c:v>620.78354343643707</c:v>
                </c:pt>
                <c:pt idx="65">
                  <c:v>622.46476554728099</c:v>
                </c:pt>
                <c:pt idx="66">
                  <c:v>624.0749988609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46.3229444923</c:v>
                </c:pt>
                <c:pt idx="27">
                  <c:v>455.51761727827494</c:v>
                </c:pt>
                <c:pt idx="28">
                  <c:v>464.49479702731207</c:v>
                </c:pt>
                <c:pt idx="29">
                  <c:v>473.25072588920142</c:v>
                </c:pt>
                <c:pt idx="30">
                  <c:v>481.82646019842986</c:v>
                </c:pt>
                <c:pt idx="31">
                  <c:v>490.30940921733657</c:v>
                </c:pt>
                <c:pt idx="32">
                  <c:v>498.72765692710414</c:v>
                </c:pt>
                <c:pt idx="33">
                  <c:v>507.05362801726199</c:v>
                </c:pt>
                <c:pt idx="34">
                  <c:v>515.26306648022694</c:v>
                </c:pt>
                <c:pt idx="35">
                  <c:v>523.32706373091196</c:v>
                </c:pt>
                <c:pt idx="36">
                  <c:v>531.22164436000037</c:v>
                </c:pt>
                <c:pt idx="37">
                  <c:v>538.92361400757159</c:v>
                </c:pt>
                <c:pt idx="38">
                  <c:v>546.44240672454191</c:v>
                </c:pt>
                <c:pt idx="39">
                  <c:v>553.78345693896915</c:v>
                </c:pt>
                <c:pt idx="40">
                  <c:v>560.93866410550959</c:v>
                </c:pt>
                <c:pt idx="41">
                  <c:v>567.90781611587306</c:v>
                </c:pt>
                <c:pt idx="42">
                  <c:v>574.69691987386489</c:v>
                </c:pt>
                <c:pt idx="43">
                  <c:v>581.30688386341308</c:v>
                </c:pt>
                <c:pt idx="44">
                  <c:v>587.73691817212921</c:v>
                </c:pt>
                <c:pt idx="45">
                  <c:v>593.99592875600194</c:v>
                </c:pt>
                <c:pt idx="46">
                  <c:v>600.09032061567825</c:v>
                </c:pt>
                <c:pt idx="47">
                  <c:v>606.02205997991132</c:v>
                </c:pt>
                <c:pt idx="48">
                  <c:v>611.79424463343776</c:v>
                </c:pt>
                <c:pt idx="49">
                  <c:v>617.4145164680358</c:v>
                </c:pt>
                <c:pt idx="50">
                  <c:v>622.88460631726355</c:v>
                </c:pt>
                <c:pt idx="51">
                  <c:v>628.20928196506225</c:v>
                </c:pt>
                <c:pt idx="52">
                  <c:v>633.39139042116199</c:v>
                </c:pt>
                <c:pt idx="53">
                  <c:v>638.43675533200121</c:v>
                </c:pt>
                <c:pt idx="54">
                  <c:v>643.34983092444816</c:v>
                </c:pt>
                <c:pt idx="55">
                  <c:v>648.13280335292711</c:v>
                </c:pt>
                <c:pt idx="56">
                  <c:v>652.79003999942154</c:v>
                </c:pt>
                <c:pt idx="57">
                  <c:v>657.32535804065083</c:v>
                </c:pt>
                <c:pt idx="58">
                  <c:v>661.74074324054959</c:v>
                </c:pt>
                <c:pt idx="59">
                  <c:v>666.04121856569168</c:v>
                </c:pt>
                <c:pt idx="60">
                  <c:v>670.22890660226665</c:v>
                </c:pt>
                <c:pt idx="61">
                  <c:v>674.30876168197278</c:v>
                </c:pt>
                <c:pt idx="62">
                  <c:v>678.28284807053069</c:v>
                </c:pt>
                <c:pt idx="63">
                  <c:v>682.15439099388641</c:v>
                </c:pt>
                <c:pt idx="64">
                  <c:v>685.92676560597374</c:v>
                </c:pt>
                <c:pt idx="65">
                  <c:v>689.60165571097457</c:v>
                </c:pt>
                <c:pt idx="66">
                  <c:v>693.1820946777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46.54890151898337</c:v>
                </c:pt>
                <c:pt idx="27">
                  <c:v>456.1423564292445</c:v>
                </c:pt>
                <c:pt idx="28">
                  <c:v>465.63249329425736</c:v>
                </c:pt>
                <c:pt idx="29">
                  <c:v>474.97981356249437</c:v>
                </c:pt>
                <c:pt idx="30">
                  <c:v>484.25976382083036</c:v>
                </c:pt>
                <c:pt idx="31">
                  <c:v>493.59014663302594</c:v>
                </c:pt>
                <c:pt idx="32">
                  <c:v>503.02094240247175</c:v>
                </c:pt>
                <c:pt idx="33">
                  <c:v>512.53580974326837</c:v>
                </c:pt>
                <c:pt idx="34">
                  <c:v>522.07445949568705</c:v>
                </c:pt>
                <c:pt idx="35">
                  <c:v>531.59074852283607</c:v>
                </c:pt>
                <c:pt idx="36">
                  <c:v>541.06554680305408</c:v>
                </c:pt>
                <c:pt idx="37">
                  <c:v>550.4932086650781</c:v>
                </c:pt>
                <c:pt idx="38">
                  <c:v>559.88023876937325</c:v>
                </c:pt>
                <c:pt idx="39">
                  <c:v>569.22258463612525</c:v>
                </c:pt>
                <c:pt idx="40">
                  <c:v>578.50437907253809</c:v>
                </c:pt>
                <c:pt idx="41">
                  <c:v>587.71373891562928</c:v>
                </c:pt>
                <c:pt idx="42">
                  <c:v>596.85295779875128</c:v>
                </c:pt>
                <c:pt idx="43">
                  <c:v>605.92573052872672</c:v>
                </c:pt>
                <c:pt idx="44">
                  <c:v>614.93203324391175</c:v>
                </c:pt>
                <c:pt idx="45">
                  <c:v>623.87253705608168</c:v>
                </c:pt>
                <c:pt idx="46">
                  <c:v>632.74243841885993</c:v>
                </c:pt>
                <c:pt idx="47">
                  <c:v>641.54014784645778</c:v>
                </c:pt>
                <c:pt idx="48">
                  <c:v>650.26979962355153</c:v>
                </c:pt>
                <c:pt idx="49">
                  <c:v>658.93261757641471</c:v>
                </c:pt>
                <c:pt idx="50">
                  <c:v>667.52967791359424</c:v>
                </c:pt>
                <c:pt idx="51">
                  <c:v>676.05918097271467</c:v>
                </c:pt>
                <c:pt idx="52">
                  <c:v>684.52140299866289</c:v>
                </c:pt>
                <c:pt idx="53">
                  <c:v>692.91702012018425</c:v>
                </c:pt>
                <c:pt idx="54">
                  <c:v>701.24665050300337</c:v>
                </c:pt>
                <c:pt idx="55">
                  <c:v>709.5139673980201</c:v>
                </c:pt>
                <c:pt idx="56">
                  <c:v>717.71736786771771</c:v>
                </c:pt>
                <c:pt idx="57">
                  <c:v>725.85680198646935</c:v>
                </c:pt>
                <c:pt idx="58">
                  <c:v>733.93420456338504</c:v>
                </c:pt>
                <c:pt idx="59">
                  <c:v>741.94669762582453</c:v>
                </c:pt>
                <c:pt idx="60">
                  <c:v>749.89737478729899</c:v>
                </c:pt>
                <c:pt idx="61">
                  <c:v>757.78699498643493</c:v>
                </c:pt>
                <c:pt idx="62">
                  <c:v>765.61586693418474</c:v>
                </c:pt>
                <c:pt idx="63">
                  <c:v>773.38422868440193</c:v>
                </c:pt>
                <c:pt idx="64">
                  <c:v>781.09231692930223</c:v>
                </c:pt>
                <c:pt idx="65">
                  <c:v>788.742034494574</c:v>
                </c:pt>
                <c:pt idx="66">
                  <c:v>796.33220923099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46.88869949040838</c:v>
                </c:pt>
                <c:pt idx="27">
                  <c:v>457.08223149613207</c:v>
                </c:pt>
                <c:pt idx="28">
                  <c:v>467.34310381314549</c:v>
                </c:pt>
                <c:pt idx="29">
                  <c:v>477.57792555914909</c:v>
                </c:pt>
                <c:pt idx="30">
                  <c:v>487.93779977623234</c:v>
                </c:pt>
                <c:pt idx="31">
                  <c:v>498.6005497674231</c:v>
                </c:pt>
                <c:pt idx="32">
                  <c:v>509.65828794885147</c:v>
                </c:pt>
                <c:pt idx="33">
                  <c:v>521.12070258472113</c:v>
                </c:pt>
                <c:pt idx="34">
                  <c:v>532.86852841955465</c:v>
                </c:pt>
                <c:pt idx="35">
                  <c:v>544.83965212100952</c:v>
                </c:pt>
                <c:pt idx="36">
                  <c:v>557.03494733324465</c:v>
                </c:pt>
                <c:pt idx="37">
                  <c:v>569.49783439733756</c:v>
                </c:pt>
                <c:pt idx="38">
                  <c:v>582.24743779634957</c:v>
                </c:pt>
                <c:pt idx="39">
                  <c:v>595.26980703666459</c:v>
                </c:pt>
                <c:pt idx="40">
                  <c:v>608.534216757021</c:v>
                </c:pt>
                <c:pt idx="41">
                  <c:v>622.02366658852475</c:v>
                </c:pt>
                <c:pt idx="42">
                  <c:v>635.75767390806323</c:v>
                </c:pt>
                <c:pt idx="43">
                  <c:v>649.75782470837794</c:v>
                </c:pt>
                <c:pt idx="44">
                  <c:v>664.03248390290946</c:v>
                </c:pt>
                <c:pt idx="45">
                  <c:v>678.57498240816915</c:v>
                </c:pt>
                <c:pt idx="46">
                  <c:v>693.37753793321883</c:v>
                </c:pt>
                <c:pt idx="47">
                  <c:v>708.43918332043495</c:v>
                </c:pt>
                <c:pt idx="48">
                  <c:v>723.7753131588662</c:v>
                </c:pt>
                <c:pt idx="49">
                  <c:v>739.40065335800307</c:v>
                </c:pt>
                <c:pt idx="50">
                  <c:v>755.3186165388272</c:v>
                </c:pt>
                <c:pt idx="51">
                  <c:v>771.52768179711347</c:v>
                </c:pt>
                <c:pt idx="52">
                  <c:v>788.02612150230652</c:v>
                </c:pt>
                <c:pt idx="53">
                  <c:v>804.82070997365076</c:v>
                </c:pt>
                <c:pt idx="54">
                  <c:v>821.92134349895707</c:v>
                </c:pt>
                <c:pt idx="55">
                  <c:v>839.33824643848573</c:v>
                </c:pt>
                <c:pt idx="56">
                  <c:v>857.07427413964683</c:v>
                </c:pt>
                <c:pt idx="57">
                  <c:v>875.13170692077938</c:v>
                </c:pt>
                <c:pt idx="58">
                  <c:v>893.51438891648752</c:v>
                </c:pt>
                <c:pt idx="59">
                  <c:v>912.22983838126765</c:v>
                </c:pt>
                <c:pt idx="60">
                  <c:v>931.28465428758147</c:v>
                </c:pt>
                <c:pt idx="61">
                  <c:v>950.68532791088364</c:v>
                </c:pt>
                <c:pt idx="62">
                  <c:v>970.43835671912018</c:v>
                </c:pt>
                <c:pt idx="63">
                  <c:v>990.54852252773969</c:v>
                </c:pt>
                <c:pt idx="64">
                  <c:v>1011.0220336132105</c:v>
                </c:pt>
                <c:pt idx="65">
                  <c:v>1031.8653949708605</c:v>
                </c:pt>
                <c:pt idx="66">
                  <c:v>1053.085209613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</c:v>
                </c:pt>
                <c:pt idx="1">
                  <c:v>17</c:v>
                </c:pt>
                <c:pt idx="2">
                  <c:v>22</c:v>
                </c:pt>
                <c:pt idx="3">
                  <c:v>28</c:v>
                </c:pt>
                <c:pt idx="4">
                  <c:v>33</c:v>
                </c:pt>
                <c:pt idx="5">
                  <c:v>43</c:v>
                </c:pt>
                <c:pt idx="6">
                  <c:v>47</c:v>
                </c:pt>
                <c:pt idx="7">
                  <c:v>57</c:v>
                </c:pt>
                <c:pt idx="8">
                  <c:v>65</c:v>
                </c:pt>
                <c:pt idx="9">
                  <c:v>67</c:v>
                </c:pt>
                <c:pt idx="10">
                  <c:v>70</c:v>
                </c:pt>
                <c:pt idx="11">
                  <c:v>79</c:v>
                </c:pt>
                <c:pt idx="12">
                  <c:v>81</c:v>
                </c:pt>
                <c:pt idx="13">
                  <c:v>85</c:v>
                </c:pt>
                <c:pt idx="14">
                  <c:v>89</c:v>
                </c:pt>
                <c:pt idx="15">
                  <c:v>96</c:v>
                </c:pt>
                <c:pt idx="16">
                  <c:v>102</c:v>
                </c:pt>
                <c:pt idx="17">
                  <c:v>104</c:v>
                </c:pt>
                <c:pt idx="18">
                  <c:v>106</c:v>
                </c:pt>
                <c:pt idx="19">
                  <c:v>110</c:v>
                </c:pt>
                <c:pt idx="20">
                  <c:v>113</c:v>
                </c:pt>
                <c:pt idx="21">
                  <c:v>116</c:v>
                </c:pt>
                <c:pt idx="22">
                  <c:v>116</c:v>
                </c:pt>
                <c:pt idx="23">
                  <c:v>118</c:v>
                </c:pt>
                <c:pt idx="24">
                  <c:v>119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8</c:v>
                </c:pt>
                <c:pt idx="29">
                  <c:v>128</c:v>
                </c:pt>
                <c:pt idx="30">
                  <c:v>130</c:v>
                </c:pt>
                <c:pt idx="31">
                  <c:v>131</c:v>
                </c:pt>
                <c:pt idx="32">
                  <c:v>133</c:v>
                </c:pt>
                <c:pt idx="33">
                  <c:v>133</c:v>
                </c:pt>
                <c:pt idx="34">
                  <c:v>134</c:v>
                </c:pt>
                <c:pt idx="35">
                  <c:v>136</c:v>
                </c:pt>
                <c:pt idx="36">
                  <c:v>140</c:v>
                </c:pt>
                <c:pt idx="37">
                  <c:v>141</c:v>
                </c:pt>
                <c:pt idx="38">
                  <c:v>141</c:v>
                </c:pt>
                <c:pt idx="39">
                  <c:v>147</c:v>
                </c:pt>
                <c:pt idx="40">
                  <c:v>149</c:v>
                </c:pt>
                <c:pt idx="41">
                  <c:v>149</c:v>
                </c:pt>
                <c:pt idx="42">
                  <c:v>153</c:v>
                </c:pt>
                <c:pt idx="43">
                  <c:v>153</c:v>
                </c:pt>
                <c:pt idx="44">
                  <c:v>154</c:v>
                </c:pt>
                <c:pt idx="45">
                  <c:v>154</c:v>
                </c:pt>
                <c:pt idx="46">
                  <c:v>157</c:v>
                </c:pt>
                <c:pt idx="47">
                  <c:v>158</c:v>
                </c:pt>
                <c:pt idx="48">
                  <c:v>158</c:v>
                </c:pt>
                <c:pt idx="49">
                  <c:v>159</c:v>
                </c:pt>
                <c:pt idx="50">
                  <c:v>160</c:v>
                </c:pt>
                <c:pt idx="51">
                  <c:v>160</c:v>
                </c:pt>
                <c:pt idx="52">
                  <c:v>160</c:v>
                </c:pt>
                <c:pt idx="53">
                  <c:v>160</c:v>
                </c:pt>
                <c:pt idx="54">
                  <c:v>160</c:v>
                </c:pt>
                <c:pt idx="55">
                  <c:v>160</c:v>
                </c:pt>
                <c:pt idx="56">
                  <c:v>161</c:v>
                </c:pt>
                <c:pt idx="57">
                  <c:v>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56902386237817</c:v>
                </c:pt>
                <c:pt idx="27">
                  <c:v>125.08445656221774</c:v>
                </c:pt>
                <c:pt idx="28">
                  <c:v>126.54322053980573</c:v>
                </c:pt>
                <c:pt idx="29">
                  <c:v>127.95099880816792</c:v>
                </c:pt>
                <c:pt idx="30">
                  <c:v>129.30897011937131</c:v>
                </c:pt>
                <c:pt idx="31">
                  <c:v>130.62759761971878</c:v>
                </c:pt>
                <c:pt idx="32">
                  <c:v>131.9082950481467</c:v>
                </c:pt>
                <c:pt idx="33">
                  <c:v>133.1449173358975</c:v>
                </c:pt>
                <c:pt idx="34">
                  <c:v>134.33991962817186</c:v>
                </c:pt>
                <c:pt idx="35">
                  <c:v>135.49236209797391</c:v>
                </c:pt>
                <c:pt idx="36">
                  <c:v>136.60001752715564</c:v>
                </c:pt>
                <c:pt idx="37">
                  <c:v>137.65779510272736</c:v>
                </c:pt>
                <c:pt idx="38">
                  <c:v>138.66794510767622</c:v>
                </c:pt>
                <c:pt idx="39">
                  <c:v>139.63305816544036</c:v>
                </c:pt>
                <c:pt idx="40">
                  <c:v>140.55432285519993</c:v>
                </c:pt>
                <c:pt idx="41">
                  <c:v>141.43387558072752</c:v>
                </c:pt>
                <c:pt idx="42">
                  <c:v>142.27303615005479</c:v>
                </c:pt>
                <c:pt idx="43">
                  <c:v>143.07278725233792</c:v>
                </c:pt>
                <c:pt idx="44">
                  <c:v>143.83416922357597</c:v>
                </c:pt>
                <c:pt idx="45">
                  <c:v>144.55984766738356</c:v>
                </c:pt>
                <c:pt idx="46">
                  <c:v>145.25141723006013</c:v>
                </c:pt>
                <c:pt idx="47">
                  <c:v>145.9103950811967</c:v>
                </c:pt>
                <c:pt idx="48">
                  <c:v>146.53876407341238</c:v>
                </c:pt>
                <c:pt idx="49">
                  <c:v>147.13778395945772</c:v>
                </c:pt>
                <c:pt idx="50">
                  <c:v>147.70897241434236</c:v>
                </c:pt>
                <c:pt idx="51">
                  <c:v>148.25359387926457</c:v>
                </c:pt>
                <c:pt idx="52">
                  <c:v>148.77271269333957</c:v>
                </c:pt>
                <c:pt idx="53">
                  <c:v>149.26797854343425</c:v>
                </c:pt>
                <c:pt idx="54">
                  <c:v>149.7408515907502</c:v>
                </c:pt>
                <c:pt idx="55">
                  <c:v>150.19198062716649</c:v>
                </c:pt>
                <c:pt idx="56">
                  <c:v>150.62268965640735</c:v>
                </c:pt>
                <c:pt idx="57">
                  <c:v>151.03392002641959</c:v>
                </c:pt>
                <c:pt idx="58">
                  <c:v>151.42651131918473</c:v>
                </c:pt>
                <c:pt idx="59">
                  <c:v>151.80157825851123</c:v>
                </c:pt>
                <c:pt idx="60">
                  <c:v>152.1599551385001</c:v>
                </c:pt>
                <c:pt idx="61">
                  <c:v>152.50240477784206</c:v>
                </c:pt>
                <c:pt idx="62">
                  <c:v>152.82997689655838</c:v>
                </c:pt>
                <c:pt idx="63">
                  <c:v>153.14314260145099</c:v>
                </c:pt>
                <c:pt idx="64">
                  <c:v>153.44286710673336</c:v>
                </c:pt>
                <c:pt idx="65">
                  <c:v>153.72958120442442</c:v>
                </c:pt>
                <c:pt idx="66">
                  <c:v>154.00421502034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3.60988710106471</c:v>
                </c:pt>
                <c:pt idx="27">
                  <c:v>125.19693293901989</c:v>
                </c:pt>
                <c:pt idx="28">
                  <c:v>126.74751690057944</c:v>
                </c:pt>
                <c:pt idx="29">
                  <c:v>128.26077753838359</c:v>
                </c:pt>
                <c:pt idx="30">
                  <c:v>129.7420338216867</c:v>
                </c:pt>
                <c:pt idx="31">
                  <c:v>131.20537194999332</c:v>
                </c:pt>
                <c:pt idx="32">
                  <c:v>132.65462015339648</c:v>
                </c:pt>
                <c:pt idx="33">
                  <c:v>134.08506507710655</c:v>
                </c:pt>
                <c:pt idx="34">
                  <c:v>135.49323723304906</c:v>
                </c:pt>
                <c:pt idx="35">
                  <c:v>136.8752433853833</c:v>
                </c:pt>
                <c:pt idx="36">
                  <c:v>138.22768899151802</c:v>
                </c:pt>
                <c:pt idx="37">
                  <c:v>139.54680672707502</c:v>
                </c:pt>
                <c:pt idx="38">
                  <c:v>140.83434099941078</c:v>
                </c:pt>
                <c:pt idx="39">
                  <c:v>142.0912444663854</c:v>
                </c:pt>
                <c:pt idx="40">
                  <c:v>143.31620535639195</c:v>
                </c:pt>
                <c:pt idx="41">
                  <c:v>144.50920941370725</c:v>
                </c:pt>
                <c:pt idx="42">
                  <c:v>145.67134069433203</c:v>
                </c:pt>
                <c:pt idx="43">
                  <c:v>146.80278909455248</c:v>
                </c:pt>
                <c:pt idx="44">
                  <c:v>147.9034495836583</c:v>
                </c:pt>
                <c:pt idx="45">
                  <c:v>148.97476939168271</c:v>
                </c:pt>
                <c:pt idx="46">
                  <c:v>150.0177909828858</c:v>
                </c:pt>
                <c:pt idx="47">
                  <c:v>151.03297315989579</c:v>
                </c:pt>
                <c:pt idx="48">
                  <c:v>152.02084847589549</c:v>
                </c:pt>
                <c:pt idx="49">
                  <c:v>152.98272992961074</c:v>
                </c:pt>
                <c:pt idx="50">
                  <c:v>153.91895365006371</c:v>
                </c:pt>
                <c:pt idx="51">
                  <c:v>154.830312243924</c:v>
                </c:pt>
                <c:pt idx="52">
                  <c:v>155.71723240101457</c:v>
                </c:pt>
                <c:pt idx="53">
                  <c:v>156.58071290785603</c:v>
                </c:pt>
                <c:pt idx="54">
                  <c:v>157.42156834973733</c:v>
                </c:pt>
                <c:pt idx="55">
                  <c:v>158.24013706807062</c:v>
                </c:pt>
                <c:pt idx="56">
                  <c:v>159.03719365747511</c:v>
                </c:pt>
                <c:pt idx="57">
                  <c:v>159.81340015800461</c:v>
                </c:pt>
                <c:pt idx="58">
                  <c:v>160.56908228148035</c:v>
                </c:pt>
                <c:pt idx="59">
                  <c:v>161.30511259078168</c:v>
                </c:pt>
                <c:pt idx="60">
                  <c:v>162.0218452846367</c:v>
                </c:pt>
                <c:pt idx="61">
                  <c:v>162.72014152871043</c:v>
                </c:pt>
                <c:pt idx="62">
                  <c:v>163.40034613913386</c:v>
                </c:pt>
                <c:pt idx="63">
                  <c:v>164.0630109912949</c:v>
                </c:pt>
                <c:pt idx="64">
                  <c:v>164.70871684775929</c:v>
                </c:pt>
                <c:pt idx="65">
                  <c:v>165.33774106568765</c:v>
                </c:pt>
                <c:pt idx="66">
                  <c:v>165.95060332096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3.65044076976102</c:v>
                </c:pt>
                <c:pt idx="27">
                  <c:v>125.30903564840636</c:v>
                </c:pt>
                <c:pt idx="28">
                  <c:v>126.9514129378646</c:v>
                </c:pt>
                <c:pt idx="29">
                  <c:v>128.57013047905917</c:v>
                </c:pt>
                <c:pt idx="30">
                  <c:v>130.17650267107396</c:v>
                </c:pt>
                <c:pt idx="31">
                  <c:v>131.78986245597352</c:v>
                </c:pt>
                <c:pt idx="32">
                  <c:v>133.41779682498324</c:v>
                </c:pt>
                <c:pt idx="33">
                  <c:v>135.05748061584544</c:v>
                </c:pt>
                <c:pt idx="34">
                  <c:v>136.69893368415032</c:v>
                </c:pt>
                <c:pt idx="35">
                  <c:v>138.33514766499147</c:v>
                </c:pt>
                <c:pt idx="36">
                  <c:v>139.96362717467582</c:v>
                </c:pt>
                <c:pt idx="37">
                  <c:v>141.58377952115535</c:v>
                </c:pt>
                <c:pt idx="38">
                  <c:v>143.19682220737926</c:v>
                </c:pt>
                <c:pt idx="39">
                  <c:v>144.80201455957902</c:v>
                </c:pt>
                <c:pt idx="40">
                  <c:v>146.39667804047102</c:v>
                </c:pt>
                <c:pt idx="41">
                  <c:v>147.97874752324736</c:v>
                </c:pt>
                <c:pt idx="42">
                  <c:v>149.54867135080016</c:v>
                </c:pt>
                <c:pt idx="43">
                  <c:v>151.10718182169552</c:v>
                </c:pt>
                <c:pt idx="44">
                  <c:v>152.65433984582808</c:v>
                </c:pt>
                <c:pt idx="45">
                  <c:v>154.19014492447531</c:v>
                </c:pt>
                <c:pt idx="46">
                  <c:v>155.71365762417236</c:v>
                </c:pt>
                <c:pt idx="47">
                  <c:v>157.2247346591048</c:v>
                </c:pt>
                <c:pt idx="48">
                  <c:v>158.72413398708167</c:v>
                </c:pt>
                <c:pt idx="49">
                  <c:v>160.21205076295323</c:v>
                </c:pt>
                <c:pt idx="50">
                  <c:v>161.68872936276824</c:v>
                </c:pt>
                <c:pt idx="51">
                  <c:v>163.15381675625815</c:v>
                </c:pt>
                <c:pt idx="52">
                  <c:v>164.60730531186175</c:v>
                </c:pt>
                <c:pt idx="53">
                  <c:v>166.04929989449334</c:v>
                </c:pt>
                <c:pt idx="54">
                  <c:v>167.47995307572043</c:v>
                </c:pt>
                <c:pt idx="55">
                  <c:v>168.8999010598491</c:v>
                </c:pt>
                <c:pt idx="56">
                  <c:v>170.30887345849999</c:v>
                </c:pt>
                <c:pt idx="57">
                  <c:v>171.70686080900666</c:v>
                </c:pt>
                <c:pt idx="58">
                  <c:v>173.09420588267866</c:v>
                </c:pt>
                <c:pt idx="59">
                  <c:v>174.47038759626932</c:v>
                </c:pt>
                <c:pt idx="60">
                  <c:v>175.83595500928391</c:v>
                </c:pt>
                <c:pt idx="61">
                  <c:v>177.19104200359052</c:v>
                </c:pt>
                <c:pt idx="62">
                  <c:v>178.53569916761657</c:v>
                </c:pt>
                <c:pt idx="63">
                  <c:v>179.8699645255362</c:v>
                </c:pt>
                <c:pt idx="64">
                  <c:v>181.1938768963777</c:v>
                </c:pt>
                <c:pt idx="65">
                  <c:v>182.50777369802864</c:v>
                </c:pt>
                <c:pt idx="66">
                  <c:v>183.8114411337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3.71142605780059</c:v>
                </c:pt>
                <c:pt idx="27">
                  <c:v>125.47768611618396</c:v>
                </c:pt>
                <c:pt idx="28">
                  <c:v>127.25798560794709</c:v>
                </c:pt>
                <c:pt idx="29">
                  <c:v>129.03495994203857</c:v>
                </c:pt>
                <c:pt idx="30">
                  <c:v>130.83323722773886</c:v>
                </c:pt>
                <c:pt idx="31">
                  <c:v>132.68260839168028</c:v>
                </c:pt>
                <c:pt idx="32">
                  <c:v>134.59794033144945</c:v>
                </c:pt>
                <c:pt idx="33">
                  <c:v>136.5808495467985</c:v>
                </c:pt>
                <c:pt idx="34">
                  <c:v>138.61065176270432</c:v>
                </c:pt>
                <c:pt idx="35">
                  <c:v>140.67736538183368</c:v>
                </c:pt>
                <c:pt idx="36">
                  <c:v>142.78205496365513</c:v>
                </c:pt>
                <c:pt idx="37">
                  <c:v>144.93288797428363</c:v>
                </c:pt>
                <c:pt idx="38">
                  <c:v>147.13326348677685</c:v>
                </c:pt>
                <c:pt idx="39">
                  <c:v>149.38059454135961</c:v>
                </c:pt>
                <c:pt idx="40">
                  <c:v>151.66949226051466</c:v>
                </c:pt>
                <c:pt idx="41">
                  <c:v>153.99696016024973</c:v>
                </c:pt>
                <c:pt idx="42">
                  <c:v>156.36650592149903</c:v>
                </c:pt>
                <c:pt idx="43">
                  <c:v>158.78205238112193</c:v>
                </c:pt>
                <c:pt idx="44">
                  <c:v>161.24511844879947</c:v>
                </c:pt>
                <c:pt idx="45">
                  <c:v>163.75434775628651</c:v>
                </c:pt>
                <c:pt idx="46">
                  <c:v>166.30823166083104</c:v>
                </c:pt>
                <c:pt idx="47">
                  <c:v>168.90671513976412</c:v>
                </c:pt>
                <c:pt idx="48">
                  <c:v>171.55255341974339</c:v>
                </c:pt>
                <c:pt idx="49">
                  <c:v>174.24833802057429</c:v>
                </c:pt>
                <c:pt idx="50">
                  <c:v>176.99469480458538</c:v>
                </c:pt>
                <c:pt idx="51">
                  <c:v>179.79128524703557</c:v>
                </c:pt>
                <c:pt idx="52">
                  <c:v>182.63771014741874</c:v>
                </c:pt>
                <c:pt idx="53">
                  <c:v>185.53513738954265</c:v>
                </c:pt>
                <c:pt idx="54">
                  <c:v>188.4853516748818</c:v>
                </c:pt>
                <c:pt idx="55">
                  <c:v>191.49013602365818</c:v>
                </c:pt>
                <c:pt idx="56">
                  <c:v>194.54998269844481</c:v>
                </c:pt>
                <c:pt idx="57">
                  <c:v>197.66526697869165</c:v>
                </c:pt>
                <c:pt idx="58">
                  <c:v>200.83663969329487</c:v>
                </c:pt>
                <c:pt idx="59">
                  <c:v>204.06541247970671</c:v>
                </c:pt>
                <c:pt idx="60">
                  <c:v>207.35272904125333</c:v>
                </c:pt>
                <c:pt idx="61">
                  <c:v>210.69971160109858</c:v>
                </c:pt>
                <c:pt idx="62">
                  <c:v>214.1074844414041</c:v>
                </c:pt>
                <c:pt idx="63">
                  <c:v>217.57686188408445</c:v>
                </c:pt>
                <c:pt idx="64">
                  <c:v>221.10891407048791</c:v>
                </c:pt>
                <c:pt idx="65">
                  <c:v>224.70476478323863</c:v>
                </c:pt>
                <c:pt idx="66">
                  <c:v>228.36555419890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</c:v>
                </c:pt>
                <c:pt idx="1">
                  <c:v>112</c:v>
                </c:pt>
                <c:pt idx="2">
                  <c:v>153</c:v>
                </c:pt>
                <c:pt idx="3">
                  <c:v>190</c:v>
                </c:pt>
                <c:pt idx="4">
                  <c:v>224</c:v>
                </c:pt>
                <c:pt idx="5">
                  <c:v>321</c:v>
                </c:pt>
                <c:pt idx="6">
                  <c:v>358</c:v>
                </c:pt>
                <c:pt idx="7">
                  <c:v>396</c:v>
                </c:pt>
                <c:pt idx="8">
                  <c:v>454</c:v>
                </c:pt>
                <c:pt idx="9">
                  <c:v>479</c:v>
                </c:pt>
                <c:pt idx="10">
                  <c:v>498</c:v>
                </c:pt>
                <c:pt idx="11">
                  <c:v>547</c:v>
                </c:pt>
                <c:pt idx="12">
                  <c:v>585</c:v>
                </c:pt>
                <c:pt idx="13">
                  <c:v>617</c:v>
                </c:pt>
                <c:pt idx="14">
                  <c:v>643</c:v>
                </c:pt>
                <c:pt idx="15">
                  <c:v>676</c:v>
                </c:pt>
                <c:pt idx="16">
                  <c:v>702</c:v>
                </c:pt>
                <c:pt idx="17">
                  <c:v>714</c:v>
                </c:pt>
                <c:pt idx="18">
                  <c:v>760</c:v>
                </c:pt>
                <c:pt idx="19">
                  <c:v>798</c:v>
                </c:pt>
                <c:pt idx="20">
                  <c:v>821</c:v>
                </c:pt>
                <c:pt idx="21">
                  <c:v>843</c:v>
                </c:pt>
                <c:pt idx="22">
                  <c:v>873</c:v>
                </c:pt>
                <c:pt idx="23">
                  <c:v>888</c:v>
                </c:pt>
                <c:pt idx="24">
                  <c:v>906</c:v>
                </c:pt>
                <c:pt idx="25">
                  <c:v>948</c:v>
                </c:pt>
                <c:pt idx="26">
                  <c:v>971</c:v>
                </c:pt>
                <c:pt idx="27">
                  <c:v>999</c:v>
                </c:pt>
                <c:pt idx="28">
                  <c:v>1022</c:v>
                </c:pt>
                <c:pt idx="29">
                  <c:v>1038</c:v>
                </c:pt>
                <c:pt idx="30">
                  <c:v>1049</c:v>
                </c:pt>
                <c:pt idx="31">
                  <c:v>1064</c:v>
                </c:pt>
                <c:pt idx="32">
                  <c:v>1099</c:v>
                </c:pt>
                <c:pt idx="33">
                  <c:v>1115</c:v>
                </c:pt>
                <c:pt idx="34">
                  <c:v>1133</c:v>
                </c:pt>
                <c:pt idx="35">
                  <c:v>1147</c:v>
                </c:pt>
                <c:pt idx="36">
                  <c:v>1161</c:v>
                </c:pt>
                <c:pt idx="37">
                  <c:v>1165</c:v>
                </c:pt>
                <c:pt idx="38">
                  <c:v>1176</c:v>
                </c:pt>
                <c:pt idx="39">
                  <c:v>1192</c:v>
                </c:pt>
                <c:pt idx="40">
                  <c:v>1199</c:v>
                </c:pt>
                <c:pt idx="41">
                  <c:v>1212</c:v>
                </c:pt>
                <c:pt idx="42">
                  <c:v>1227</c:v>
                </c:pt>
                <c:pt idx="43">
                  <c:v>1234</c:v>
                </c:pt>
                <c:pt idx="44">
                  <c:v>1241</c:v>
                </c:pt>
                <c:pt idx="45">
                  <c:v>1251</c:v>
                </c:pt>
                <c:pt idx="46">
                  <c:v>1259</c:v>
                </c:pt>
                <c:pt idx="47">
                  <c:v>1261</c:v>
                </c:pt>
                <c:pt idx="48">
                  <c:v>1268</c:v>
                </c:pt>
                <c:pt idx="49">
                  <c:v>1274</c:v>
                </c:pt>
                <c:pt idx="50">
                  <c:v>1284</c:v>
                </c:pt>
                <c:pt idx="51">
                  <c:v>1285</c:v>
                </c:pt>
                <c:pt idx="52">
                  <c:v>1287</c:v>
                </c:pt>
                <c:pt idx="53">
                  <c:v>1292</c:v>
                </c:pt>
                <c:pt idx="54">
                  <c:v>1297</c:v>
                </c:pt>
                <c:pt idx="55">
                  <c:v>1300</c:v>
                </c:pt>
                <c:pt idx="56">
                  <c:v>1303</c:v>
                </c:pt>
                <c:pt idx="57">
                  <c:v>1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5.4101519870602</c:v>
                </c:pt>
                <c:pt idx="27">
                  <c:v>986.12657877594495</c:v>
                </c:pt>
                <c:pt idx="28">
                  <c:v>1006.0595113139397</c:v>
                </c:pt>
                <c:pt idx="29">
                  <c:v>1025.2825273405219</c:v>
                </c:pt>
                <c:pt idx="30">
                  <c:v>1043.8466627179021</c:v>
                </c:pt>
                <c:pt idx="31">
                  <c:v>1061.9133065619872</c:v>
                </c:pt>
                <c:pt idx="32">
                  <c:v>1079.5208294145154</c:v>
                </c:pt>
                <c:pt idx="33">
                  <c:v>1096.5835574288765</c:v>
                </c:pt>
                <c:pt idx="34">
                  <c:v>1113.1159254852303</c:v>
                </c:pt>
                <c:pt idx="35">
                  <c:v>1129.0813483311326</c:v>
                </c:pt>
                <c:pt idx="36">
                  <c:v>1144.4350740284985</c:v>
                </c:pt>
                <c:pt idx="37">
                  <c:v>1159.1052248330307</c:v>
                </c:pt>
                <c:pt idx="38">
                  <c:v>1173.1205618730862</c:v>
                </c:pt>
                <c:pt idx="39">
                  <c:v>1186.5157865615772</c:v>
                </c:pt>
                <c:pt idx="40">
                  <c:v>1199.3045614787618</c:v>
                </c:pt>
                <c:pt idx="41">
                  <c:v>1211.5152978442843</c:v>
                </c:pt>
                <c:pt idx="42">
                  <c:v>1223.1660595846802</c:v>
                </c:pt>
                <c:pt idx="43">
                  <c:v>1234.2703122174548</c:v>
                </c:pt>
                <c:pt idx="44">
                  <c:v>1244.8416947367668</c:v>
                </c:pt>
                <c:pt idx="45">
                  <c:v>1254.9184418488117</c:v>
                </c:pt>
                <c:pt idx="46">
                  <c:v>1264.5241161581903</c:v>
                </c:pt>
                <c:pt idx="47">
                  <c:v>1273.6771955629881</c:v>
                </c:pt>
                <c:pt idx="48">
                  <c:v>1282.4045774294023</c:v>
                </c:pt>
                <c:pt idx="49">
                  <c:v>1290.7244730953919</c:v>
                </c:pt>
                <c:pt idx="50">
                  <c:v>1298.6566844253507</c:v>
                </c:pt>
                <c:pt idx="51">
                  <c:v>1306.2193663472635</c:v>
                </c:pt>
                <c:pt idx="52">
                  <c:v>1313.4284955403696</c:v>
                </c:pt>
                <c:pt idx="53">
                  <c:v>1320.3068152021535</c:v>
                </c:pt>
                <c:pt idx="54">
                  <c:v>1326.8733826332136</c:v>
                </c:pt>
                <c:pt idx="55">
                  <c:v>1333.1382315202989</c:v>
                </c:pt>
                <c:pt idx="56">
                  <c:v>1339.1191020310043</c:v>
                </c:pt>
                <c:pt idx="57">
                  <c:v>1344.8290559090349</c:v>
                </c:pt>
                <c:pt idx="58">
                  <c:v>1350.2799338267318</c:v>
                </c:pt>
                <c:pt idx="59">
                  <c:v>1355.4870500053937</c:v>
                </c:pt>
                <c:pt idx="60">
                  <c:v>1360.4620459279463</c:v>
                </c:pt>
                <c:pt idx="61">
                  <c:v>1365.215623198344</c:v>
                </c:pt>
                <c:pt idx="62">
                  <c:v>1369.7621206857132</c:v>
                </c:pt>
                <c:pt idx="63">
                  <c:v>1374.1083798678089</c:v>
                </c:pt>
                <c:pt idx="64">
                  <c:v>1378.2675836737251</c:v>
                </c:pt>
                <c:pt idx="65">
                  <c:v>1382.2459718713037</c:v>
                </c:pt>
                <c:pt idx="66">
                  <c:v>1386.0562107312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5.93615369650809</c:v>
                </c:pt>
                <c:pt idx="27">
                  <c:v>987.57483548866946</c:v>
                </c:pt>
                <c:pt idx="28">
                  <c:v>1008.6948976611341</c:v>
                </c:pt>
                <c:pt idx="29">
                  <c:v>1029.2888330507365</c:v>
                </c:pt>
                <c:pt idx="30">
                  <c:v>1049.4643636369649</c:v>
                </c:pt>
                <c:pt idx="31">
                  <c:v>1069.4334845275971</c:v>
                </c:pt>
                <c:pt idx="32">
                  <c:v>1089.2686889868571</c:v>
                </c:pt>
                <c:pt idx="33">
                  <c:v>1108.9047908253967</c:v>
                </c:pt>
                <c:pt idx="34">
                  <c:v>1128.2802019764952</c:v>
                </c:pt>
                <c:pt idx="35">
                  <c:v>1147.3200029569934</c:v>
                </c:pt>
                <c:pt idx="36">
                  <c:v>1165.9630995573241</c:v>
                </c:pt>
                <c:pt idx="37">
                  <c:v>1184.1534233853945</c:v>
                </c:pt>
                <c:pt idx="38">
                  <c:v>1201.912447718275</c:v>
                </c:pt>
                <c:pt idx="39">
                  <c:v>1219.2528699082209</c:v>
                </c:pt>
                <c:pt idx="40">
                  <c:v>1236.1550834517425</c:v>
                </c:pt>
                <c:pt idx="41">
                  <c:v>1252.6184487836017</c:v>
                </c:pt>
                <c:pt idx="42">
                  <c:v>1268.6568058761789</c:v>
                </c:pt>
                <c:pt idx="43">
                  <c:v>1284.2720849597304</c:v>
                </c:pt>
                <c:pt idx="44">
                  <c:v>1299.4622304195866</c:v>
                </c:pt>
                <c:pt idx="45">
                  <c:v>1314.2487665604945</c:v>
                </c:pt>
                <c:pt idx="46">
                  <c:v>1328.6471629513458</c:v>
                </c:pt>
                <c:pt idx="47">
                  <c:v>1342.6612969311714</c:v>
                </c:pt>
                <c:pt idx="48">
                  <c:v>1356.2984722434994</c:v>
                </c:pt>
                <c:pt idx="49">
                  <c:v>1369.5767111306873</c:v>
                </c:pt>
                <c:pt idx="50">
                  <c:v>1382.4998521867528</c:v>
                </c:pt>
                <c:pt idx="51">
                  <c:v>1395.0793063952638</c:v>
                </c:pt>
                <c:pt idx="52">
                  <c:v>1407.3221803203326</c:v>
                </c:pt>
                <c:pt idx="53">
                  <c:v>1419.242219507167</c:v>
                </c:pt>
                <c:pt idx="54">
                  <c:v>1430.8496191065929</c:v>
                </c:pt>
                <c:pt idx="55">
                  <c:v>1442.1497689179359</c:v>
                </c:pt>
                <c:pt idx="56">
                  <c:v>1453.1528167172539</c:v>
                </c:pt>
                <c:pt idx="57">
                  <c:v>1463.8677258741507</c:v>
                </c:pt>
                <c:pt idx="58">
                  <c:v>1474.2992766888165</c:v>
                </c:pt>
                <c:pt idx="59">
                  <c:v>1484.4592551720129</c:v>
                </c:pt>
                <c:pt idx="60">
                  <c:v>1494.3527330323909</c:v>
                </c:pt>
                <c:pt idx="61">
                  <c:v>1503.9913319329653</c:v>
                </c:pt>
                <c:pt idx="62">
                  <c:v>1513.3799820370918</c:v>
                </c:pt>
                <c:pt idx="63">
                  <c:v>1522.5263038052153</c:v>
                </c:pt>
                <c:pt idx="64">
                  <c:v>1531.438251641584</c:v>
                </c:pt>
                <c:pt idx="65">
                  <c:v>1540.1198715715623</c:v>
                </c:pt>
                <c:pt idx="66">
                  <c:v>1548.5783267881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6.45817054451845</c:v>
                </c:pt>
                <c:pt idx="27">
                  <c:v>989.01827898184581</c:v>
                </c:pt>
                <c:pt idx="28">
                  <c:v>1011.3250933399063</c:v>
                </c:pt>
                <c:pt idx="29">
                  <c:v>1033.2895799480141</c:v>
                </c:pt>
                <c:pt idx="30">
                  <c:v>1055.1000208987991</c:v>
                </c:pt>
                <c:pt idx="31">
                  <c:v>1077.0399342413198</c:v>
                </c:pt>
                <c:pt idx="32">
                  <c:v>1099.2334739373821</c:v>
                </c:pt>
                <c:pt idx="33">
                  <c:v>1121.6422109056002</c:v>
                </c:pt>
                <c:pt idx="34">
                  <c:v>1144.1215853660046</c:v>
                </c:pt>
                <c:pt idx="35">
                  <c:v>1166.5569996213098</c:v>
                </c:pt>
                <c:pt idx="36">
                  <c:v>1188.898368047739</c:v>
                </c:pt>
                <c:pt idx="37">
                  <c:v>1211.1300065857995</c:v>
                </c:pt>
                <c:pt idx="38">
                  <c:v>1233.266628125481</c:v>
                </c:pt>
                <c:pt idx="39">
                  <c:v>1255.2989542977164</c:v>
                </c:pt>
                <c:pt idx="40">
                  <c:v>1277.1892651842832</c:v>
                </c:pt>
                <c:pt idx="41">
                  <c:v>1298.9096831640818</c:v>
                </c:pt>
                <c:pt idx="42">
                  <c:v>1320.4652766690187</c:v>
                </c:pt>
                <c:pt idx="43">
                  <c:v>1341.8641472157299</c:v>
                </c:pt>
                <c:pt idx="44">
                  <c:v>1363.1058302684426</c:v>
                </c:pt>
                <c:pt idx="45">
                  <c:v>1384.1926358080943</c:v>
                </c:pt>
                <c:pt idx="46">
                  <c:v>1405.1139519969415</c:v>
                </c:pt>
                <c:pt idx="47">
                  <c:v>1425.8652150457388</c:v>
                </c:pt>
                <c:pt idx="48">
                  <c:v>1446.4558759718725</c:v>
                </c:pt>
                <c:pt idx="49">
                  <c:v>1466.8889159251264</c:v>
                </c:pt>
                <c:pt idx="50">
                  <c:v>1487.166499531156</c:v>
                </c:pt>
                <c:pt idx="51">
                  <c:v>1507.2846577469356</c:v>
                </c:pt>
                <c:pt idx="52">
                  <c:v>1527.2443880503115</c:v>
                </c:pt>
                <c:pt idx="53">
                  <c:v>1547.0473559824584</c:v>
                </c:pt>
                <c:pt idx="54">
                  <c:v>1566.694728246774</c:v>
                </c:pt>
                <c:pt idx="55">
                  <c:v>1586.1951357376211</c:v>
                </c:pt>
                <c:pt idx="56">
                  <c:v>1605.5447666329881</c:v>
                </c:pt>
                <c:pt idx="57">
                  <c:v>1624.7435087464623</c:v>
                </c:pt>
                <c:pt idx="58">
                  <c:v>1643.7958600946617</c:v>
                </c:pt>
                <c:pt idx="59">
                  <c:v>1662.6952004747845</c:v>
                </c:pt>
                <c:pt idx="60">
                  <c:v>1681.4487156324794</c:v>
                </c:pt>
                <c:pt idx="61">
                  <c:v>1700.058173529017</c:v>
                </c:pt>
                <c:pt idx="62">
                  <c:v>1718.5243176174058</c:v>
                </c:pt>
                <c:pt idx="63">
                  <c:v>1736.8477273808298</c:v>
                </c:pt>
                <c:pt idx="64">
                  <c:v>1755.0289726303463</c:v>
                </c:pt>
                <c:pt idx="65">
                  <c:v>1773.0724750637755</c:v>
                </c:pt>
                <c:pt idx="66">
                  <c:v>1790.9755482351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7.24318824725287</c:v>
                </c:pt>
                <c:pt idx="27">
                  <c:v>991.18983569281954</c:v>
                </c:pt>
                <c:pt idx="28">
                  <c:v>1015.2797878425389</c:v>
                </c:pt>
                <c:pt idx="29">
                  <c:v>1039.301076978591</c:v>
                </c:pt>
                <c:pt idx="30">
                  <c:v>1063.6184329809898</c:v>
                </c:pt>
                <c:pt idx="31">
                  <c:v>1088.6560101807706</c:v>
                </c:pt>
                <c:pt idx="32">
                  <c:v>1114.637067298622</c:v>
                </c:pt>
                <c:pt idx="33">
                  <c:v>1141.5847546939999</c:v>
                </c:pt>
                <c:pt idx="34">
                  <c:v>1169.2190129148948</c:v>
                </c:pt>
                <c:pt idx="35">
                  <c:v>1197.3890209781143</c:v>
                </c:pt>
                <c:pt idx="36">
                  <c:v>1226.091096462304</c:v>
                </c:pt>
                <c:pt idx="37">
                  <c:v>1255.4231986817178</c:v>
                </c:pt>
                <c:pt idx="38">
                  <c:v>1285.4297190422594</c:v>
                </c:pt>
                <c:pt idx="39">
                  <c:v>1316.078950892077</c:v>
                </c:pt>
                <c:pt idx="40">
                  <c:v>1347.2991224917555</c:v>
                </c:pt>
                <c:pt idx="41">
                  <c:v>1379.0506155043604</c:v>
                </c:pt>
                <c:pt idx="42">
                  <c:v>1411.3784897923529</c:v>
                </c:pt>
                <c:pt idx="43">
                  <c:v>1444.3323085997708</c:v>
                </c:pt>
                <c:pt idx="44">
                  <c:v>1477.9312863274035</c:v>
                </c:pt>
                <c:pt idx="45">
                  <c:v>1512.1610169807484</c:v>
                </c:pt>
                <c:pt idx="46">
                  <c:v>1547.0042243625558</c:v>
                </c:pt>
                <c:pt idx="47">
                  <c:v>1582.4579295523999</c:v>
                </c:pt>
                <c:pt idx="48">
                  <c:v>1618.5577463518111</c:v>
                </c:pt>
                <c:pt idx="49">
                  <c:v>1655.3380181546981</c:v>
                </c:pt>
                <c:pt idx="50">
                  <c:v>1692.8065449257911</c:v>
                </c:pt>
                <c:pt idx="51">
                  <c:v>1730.9602247177127</c:v>
                </c:pt>
                <c:pt idx="52">
                  <c:v>1769.795626035954</c:v>
                </c:pt>
                <c:pt idx="53">
                  <c:v>1809.3287002920588</c:v>
                </c:pt>
                <c:pt idx="54">
                  <c:v>1849.5822565875494</c:v>
                </c:pt>
                <c:pt idx="55">
                  <c:v>1890.5802422834822</c:v>
                </c:pt>
                <c:pt idx="56">
                  <c:v>1932.3293808058954</c:v>
                </c:pt>
                <c:pt idx="57">
                  <c:v>1974.8351536575449</c:v>
                </c:pt>
                <c:pt idx="58">
                  <c:v>2018.1066872780359</c:v>
                </c:pt>
                <c:pt idx="59">
                  <c:v>2062.1615874733966</c:v>
                </c:pt>
                <c:pt idx="60">
                  <c:v>2107.0153547798559</c:v>
                </c:pt>
                <c:pt idx="61">
                  <c:v>2152.6832544365434</c:v>
                </c:pt>
                <c:pt idx="62">
                  <c:v>2199.1805600378434</c:v>
                </c:pt>
                <c:pt idx="63">
                  <c:v>2246.518594426595</c:v>
                </c:pt>
                <c:pt idx="64">
                  <c:v>2294.7119771485486</c:v>
                </c:pt>
                <c:pt idx="65">
                  <c:v>2343.7760108094703</c:v>
                </c:pt>
                <c:pt idx="66">
                  <c:v>2393.7262319832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6</c:v>
                </c:pt>
                <c:pt idx="2">
                  <c:v>70</c:v>
                </c:pt>
                <c:pt idx="3">
                  <c:v>97</c:v>
                </c:pt>
                <c:pt idx="4">
                  <c:v>106</c:v>
                </c:pt>
                <c:pt idx="5">
                  <c:v>135</c:v>
                </c:pt>
                <c:pt idx="6">
                  <c:v>152</c:v>
                </c:pt>
                <c:pt idx="7">
                  <c:v>172</c:v>
                </c:pt>
                <c:pt idx="8">
                  <c:v>187</c:v>
                </c:pt>
                <c:pt idx="9">
                  <c:v>200</c:v>
                </c:pt>
                <c:pt idx="10">
                  <c:v>212</c:v>
                </c:pt>
                <c:pt idx="11">
                  <c:v>228</c:v>
                </c:pt>
                <c:pt idx="12">
                  <c:v>242</c:v>
                </c:pt>
                <c:pt idx="13">
                  <c:v>257</c:v>
                </c:pt>
                <c:pt idx="14">
                  <c:v>268</c:v>
                </c:pt>
                <c:pt idx="15">
                  <c:v>286</c:v>
                </c:pt>
                <c:pt idx="16">
                  <c:v>292</c:v>
                </c:pt>
                <c:pt idx="17">
                  <c:v>298</c:v>
                </c:pt>
                <c:pt idx="18">
                  <c:v>315</c:v>
                </c:pt>
                <c:pt idx="19">
                  <c:v>324</c:v>
                </c:pt>
                <c:pt idx="20">
                  <c:v>338</c:v>
                </c:pt>
                <c:pt idx="21">
                  <c:v>348</c:v>
                </c:pt>
                <c:pt idx="22">
                  <c:v>352</c:v>
                </c:pt>
                <c:pt idx="23">
                  <c:v>355</c:v>
                </c:pt>
                <c:pt idx="24">
                  <c:v>367</c:v>
                </c:pt>
                <c:pt idx="25">
                  <c:v>375</c:v>
                </c:pt>
                <c:pt idx="26">
                  <c:v>385</c:v>
                </c:pt>
                <c:pt idx="27">
                  <c:v>397</c:v>
                </c:pt>
                <c:pt idx="28">
                  <c:v>402</c:v>
                </c:pt>
                <c:pt idx="29">
                  <c:v>414</c:v>
                </c:pt>
                <c:pt idx="30">
                  <c:v>419</c:v>
                </c:pt>
                <c:pt idx="31">
                  <c:v>426</c:v>
                </c:pt>
                <c:pt idx="32">
                  <c:v>437</c:v>
                </c:pt>
                <c:pt idx="33">
                  <c:v>440</c:v>
                </c:pt>
                <c:pt idx="34">
                  <c:v>447</c:v>
                </c:pt>
                <c:pt idx="35">
                  <c:v>458</c:v>
                </c:pt>
                <c:pt idx="36">
                  <c:v>469</c:v>
                </c:pt>
                <c:pt idx="37">
                  <c:v>474</c:v>
                </c:pt>
                <c:pt idx="38">
                  <c:v>479</c:v>
                </c:pt>
                <c:pt idx="39">
                  <c:v>485</c:v>
                </c:pt>
                <c:pt idx="40">
                  <c:v>489</c:v>
                </c:pt>
                <c:pt idx="41">
                  <c:v>490</c:v>
                </c:pt>
                <c:pt idx="42">
                  <c:v>491</c:v>
                </c:pt>
                <c:pt idx="43">
                  <c:v>492</c:v>
                </c:pt>
                <c:pt idx="44">
                  <c:v>494</c:v>
                </c:pt>
                <c:pt idx="45">
                  <c:v>496</c:v>
                </c:pt>
                <c:pt idx="46">
                  <c:v>499</c:v>
                </c:pt>
                <c:pt idx="47">
                  <c:v>501</c:v>
                </c:pt>
                <c:pt idx="48">
                  <c:v>504</c:v>
                </c:pt>
                <c:pt idx="49">
                  <c:v>509</c:v>
                </c:pt>
                <c:pt idx="50">
                  <c:v>514</c:v>
                </c:pt>
                <c:pt idx="51">
                  <c:v>517</c:v>
                </c:pt>
                <c:pt idx="52">
                  <c:v>519</c:v>
                </c:pt>
                <c:pt idx="53">
                  <c:v>520</c:v>
                </c:pt>
                <c:pt idx="54">
                  <c:v>524</c:v>
                </c:pt>
                <c:pt idx="55">
                  <c:v>530</c:v>
                </c:pt>
                <c:pt idx="56">
                  <c:v>530</c:v>
                </c:pt>
                <c:pt idx="57">
                  <c:v>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82.85893600667583</c:v>
                </c:pt>
                <c:pt idx="27">
                  <c:v>390.45749185218358</c:v>
                </c:pt>
                <c:pt idx="28">
                  <c:v>397.77001503238807</c:v>
                </c:pt>
                <c:pt idx="29">
                  <c:v>404.82411992931361</c:v>
                </c:pt>
                <c:pt idx="30">
                  <c:v>411.63320043202128</c:v>
                </c:pt>
                <c:pt idx="31">
                  <c:v>418.2536532381493</c:v>
                </c:pt>
                <c:pt idx="32">
                  <c:v>424.69664803585374</c:v>
                </c:pt>
                <c:pt idx="33">
                  <c:v>430.93101510739405</c:v>
                </c:pt>
                <c:pt idx="34">
                  <c:v>436.96496592712492</c:v>
                </c:pt>
                <c:pt idx="35">
                  <c:v>442.7887013356426</c:v>
                </c:pt>
                <c:pt idx="36">
                  <c:v>448.38798831816422</c:v>
                </c:pt>
                <c:pt idx="37">
                  <c:v>453.73681133671914</c:v>
                </c:pt>
                <c:pt idx="38">
                  <c:v>458.84602479005196</c:v>
                </c:pt>
                <c:pt idx="39">
                  <c:v>463.72846553279157</c:v>
                </c:pt>
                <c:pt idx="40">
                  <c:v>468.38953915370359</c:v>
                </c:pt>
                <c:pt idx="41">
                  <c:v>472.83978766696475</c:v>
                </c:pt>
                <c:pt idx="42">
                  <c:v>477.08583340411707</c:v>
                </c:pt>
                <c:pt idx="43">
                  <c:v>481.13261050966116</c:v>
                </c:pt>
                <c:pt idx="44">
                  <c:v>484.98521047808345</c:v>
                </c:pt>
                <c:pt idx="45">
                  <c:v>488.65738362954653</c:v>
                </c:pt>
                <c:pt idx="46">
                  <c:v>492.15750356758275</c:v>
                </c:pt>
                <c:pt idx="47">
                  <c:v>495.49269277062854</c:v>
                </c:pt>
                <c:pt idx="48">
                  <c:v>498.67284874111726</c:v>
                </c:pt>
                <c:pt idx="49">
                  <c:v>501.70450020344958</c:v>
                </c:pt>
                <c:pt idx="50">
                  <c:v>504.59505440478165</c:v>
                </c:pt>
                <c:pt idx="51">
                  <c:v>507.3510377552459</c:v>
                </c:pt>
                <c:pt idx="52">
                  <c:v>509.97809273487792</c:v>
                </c:pt>
                <c:pt idx="53">
                  <c:v>512.48453209711988</c:v>
                </c:pt>
                <c:pt idx="54">
                  <c:v>514.877483637203</c:v>
                </c:pt>
                <c:pt idx="55">
                  <c:v>517.16045001671796</c:v>
                </c:pt>
                <c:pt idx="56">
                  <c:v>519.33999293501779</c:v>
                </c:pt>
                <c:pt idx="57">
                  <c:v>521.42087382790351</c:v>
                </c:pt>
                <c:pt idx="58">
                  <c:v>523.40738031590138</c:v>
                </c:pt>
                <c:pt idx="59">
                  <c:v>525.30511795585335</c:v>
                </c:pt>
                <c:pt idx="60">
                  <c:v>527.11832066008151</c:v>
                </c:pt>
                <c:pt idx="61">
                  <c:v>528.85087192903984</c:v>
                </c:pt>
                <c:pt idx="62">
                  <c:v>530.50803279736738</c:v>
                </c:pt>
                <c:pt idx="63">
                  <c:v>532.09225144556285</c:v>
                </c:pt>
                <c:pt idx="64">
                  <c:v>533.60836503204803</c:v>
                </c:pt>
                <c:pt idx="65">
                  <c:v>535.05860875231542</c:v>
                </c:pt>
                <c:pt idx="66">
                  <c:v>536.4476359009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83.05684072401937</c:v>
                </c:pt>
                <c:pt idx="27">
                  <c:v>391.00231888485825</c:v>
                </c:pt>
                <c:pt idx="28">
                  <c:v>398.76064969257413</c:v>
                </c:pt>
                <c:pt idx="29">
                  <c:v>406.32842857961595</c:v>
                </c:pt>
                <c:pt idx="30">
                  <c:v>413.73982784190798</c:v>
                </c:pt>
                <c:pt idx="31">
                  <c:v>421.06964154038747</c:v>
                </c:pt>
                <c:pt idx="32">
                  <c:v>428.34138502935104</c:v>
                </c:pt>
                <c:pt idx="33">
                  <c:v>435.53126359649781</c:v>
                </c:pt>
                <c:pt idx="34">
                  <c:v>442.61884664482113</c:v>
                </c:pt>
                <c:pt idx="35">
                  <c:v>449.57996338492933</c:v>
                </c:pt>
                <c:pt idx="36">
                  <c:v>456.39444528687955</c:v>
                </c:pt>
                <c:pt idx="37">
                  <c:v>463.04242368036222</c:v>
                </c:pt>
                <c:pt idx="38">
                  <c:v>469.53213664747892</c:v>
                </c:pt>
                <c:pt idx="39">
                  <c:v>475.86829111552078</c:v>
                </c:pt>
                <c:pt idx="40">
                  <c:v>482.04395094479548</c:v>
                </c:pt>
                <c:pt idx="41">
                  <c:v>488.05894936307942</c:v>
                </c:pt>
                <c:pt idx="42">
                  <c:v>493.91851207516214</c:v>
                </c:pt>
                <c:pt idx="43">
                  <c:v>499.62344858697361</c:v>
                </c:pt>
                <c:pt idx="44">
                  <c:v>505.173099441521</c:v>
                </c:pt>
                <c:pt idx="45">
                  <c:v>510.57509413533808</c:v>
                </c:pt>
                <c:pt idx="46">
                  <c:v>515.83492087675791</c:v>
                </c:pt>
                <c:pt idx="47">
                  <c:v>520.95436700545213</c:v>
                </c:pt>
                <c:pt idx="48">
                  <c:v>525.93610785786768</c:v>
                </c:pt>
                <c:pt idx="49">
                  <c:v>530.78674263772939</c:v>
                </c:pt>
                <c:pt idx="50">
                  <c:v>535.50779464644631</c:v>
                </c:pt>
                <c:pt idx="51">
                  <c:v>540.10336149716454</c:v>
                </c:pt>
                <c:pt idx="52">
                  <c:v>544.57585558090636</c:v>
                </c:pt>
                <c:pt idx="53">
                  <c:v>548.93030460769864</c:v>
                </c:pt>
                <c:pt idx="54">
                  <c:v>553.1705914661826</c:v>
                </c:pt>
                <c:pt idx="55">
                  <c:v>557.29857648042741</c:v>
                </c:pt>
                <c:pt idx="56">
                  <c:v>561.31804901920009</c:v>
                </c:pt>
                <c:pt idx="57">
                  <c:v>565.23231000217515</c:v>
                </c:pt>
                <c:pt idx="58">
                  <c:v>569.04306281408617</c:v>
                </c:pt>
                <c:pt idx="59">
                  <c:v>572.75465211663482</c:v>
                </c:pt>
                <c:pt idx="60">
                  <c:v>576.36890312714706</c:v>
                </c:pt>
                <c:pt idx="61">
                  <c:v>579.89010152938135</c:v>
                </c:pt>
                <c:pt idx="62">
                  <c:v>583.32002264893504</c:v>
                </c:pt>
                <c:pt idx="63">
                  <c:v>586.66144997274728</c:v>
                </c:pt>
                <c:pt idx="64">
                  <c:v>589.91729876976081</c:v>
                </c:pt>
                <c:pt idx="65">
                  <c:v>593.08901427154069</c:v>
                </c:pt>
                <c:pt idx="66">
                  <c:v>596.17921485063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83.2532461632004</c:v>
                </c:pt>
                <c:pt idx="27">
                  <c:v>391.54533550626127</c:v>
                </c:pt>
                <c:pt idx="28">
                  <c:v>399.74933748785173</c:v>
                </c:pt>
                <c:pt idx="29">
                  <c:v>407.83065838603721</c:v>
                </c:pt>
                <c:pt idx="30">
                  <c:v>415.85323243382948</c:v>
                </c:pt>
                <c:pt idx="31">
                  <c:v>423.91811826242377</c:v>
                </c:pt>
                <c:pt idx="32">
                  <c:v>432.06773751212296</c:v>
                </c:pt>
                <c:pt idx="33">
                  <c:v>440.28796558064289</c:v>
                </c:pt>
                <c:pt idx="34">
                  <c:v>448.52701906413233</c:v>
                </c:pt>
                <c:pt idx="35">
                  <c:v>456.74573040330648</c:v>
                </c:pt>
                <c:pt idx="36">
                  <c:v>464.92816457840871</c:v>
                </c:pt>
                <c:pt idx="37">
                  <c:v>473.06972504981564</c:v>
                </c:pt>
                <c:pt idx="38">
                  <c:v>481.17610277590018</c:v>
                </c:pt>
                <c:pt idx="39">
                  <c:v>489.24376540886277</c:v>
                </c:pt>
                <c:pt idx="40">
                  <c:v>497.25904598077238</c:v>
                </c:pt>
                <c:pt idx="41">
                  <c:v>505.21166541307286</c:v>
                </c:pt>
                <c:pt idx="42">
                  <c:v>513.10364448160612</c:v>
                </c:pt>
                <c:pt idx="43">
                  <c:v>520.93824588474388</c:v>
                </c:pt>
                <c:pt idx="44">
                  <c:v>528.71549705408768</c:v>
                </c:pt>
                <c:pt idx="45">
                  <c:v>536.43589195986135</c:v>
                </c:pt>
                <c:pt idx="46">
                  <c:v>544.0951981520335</c:v>
                </c:pt>
                <c:pt idx="47">
                  <c:v>551.6921389426966</c:v>
                </c:pt>
                <c:pt idx="48">
                  <c:v>559.23031970850161</c:v>
                </c:pt>
                <c:pt idx="49">
                  <c:v>566.7107861212196</c:v>
                </c:pt>
                <c:pt idx="50">
                  <c:v>574.13451148879562</c:v>
                </c:pt>
                <c:pt idx="51">
                  <c:v>581.49990932193862</c:v>
                </c:pt>
                <c:pt idx="52">
                  <c:v>588.80717746255868</c:v>
                </c:pt>
                <c:pt idx="53">
                  <c:v>596.05689143247696</c:v>
                </c:pt>
                <c:pt idx="54">
                  <c:v>603.24961930991253</c:v>
                </c:pt>
                <c:pt idx="55">
                  <c:v>610.3885369085001</c:v>
                </c:pt>
                <c:pt idx="56">
                  <c:v>617.47226371222212</c:v>
                </c:pt>
                <c:pt idx="57">
                  <c:v>624.50075595379826</c:v>
                </c:pt>
                <c:pt idx="58">
                  <c:v>631.47569209053336</c:v>
                </c:pt>
                <c:pt idx="59">
                  <c:v>638.39456717430755</c:v>
                </c:pt>
                <c:pt idx="60">
                  <c:v>645.2600656660361</c:v>
                </c:pt>
                <c:pt idx="61">
                  <c:v>652.0728455264607</c:v>
                </c:pt>
                <c:pt idx="62">
                  <c:v>658.83317153225369</c:v>
                </c:pt>
                <c:pt idx="63">
                  <c:v>665.54124713022384</c:v>
                </c:pt>
                <c:pt idx="64">
                  <c:v>672.19727535154129</c:v>
                </c:pt>
                <c:pt idx="65">
                  <c:v>678.80290713883551</c:v>
                </c:pt>
                <c:pt idx="66">
                  <c:v>685.35712111045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83.54860396105323</c:v>
                </c:pt>
                <c:pt idx="27">
                  <c:v>392.36226492216326</c:v>
                </c:pt>
                <c:pt idx="28">
                  <c:v>401.23590266357388</c:v>
                </c:pt>
                <c:pt idx="29">
                  <c:v>410.08789458815227</c:v>
                </c:pt>
                <c:pt idx="30">
                  <c:v>419.04774109669614</c:v>
                </c:pt>
                <c:pt idx="31">
                  <c:v>428.26843959596351</c:v>
                </c:pt>
                <c:pt idx="32">
                  <c:v>437.82882535409448</c:v>
                </c:pt>
                <c:pt idx="33">
                  <c:v>447.73722919139163</c:v>
                </c:pt>
                <c:pt idx="34">
                  <c:v>457.89051652530657</c:v>
                </c:pt>
                <c:pt idx="35">
                  <c:v>468.23555919878856</c:v>
                </c:pt>
                <c:pt idx="36">
                  <c:v>478.77378736779485</c:v>
                </c:pt>
                <c:pt idx="37">
                  <c:v>489.5432194811342</c:v>
                </c:pt>
                <c:pt idx="38">
                  <c:v>500.56045423998768</c:v>
                </c:pt>
                <c:pt idx="39">
                  <c:v>511.81330417994639</c:v>
                </c:pt>
                <c:pt idx="40">
                  <c:v>523.27515510909507</c:v>
                </c:pt>
                <c:pt idx="41">
                  <c:v>534.93127042604431</c:v>
                </c:pt>
                <c:pt idx="42">
                  <c:v>546.79861848965777</c:v>
                </c:pt>
                <c:pt idx="43">
                  <c:v>558.89599816471582</c:v>
                </c:pt>
                <c:pt idx="44">
                  <c:v>571.2306933836569</c:v>
                </c:pt>
                <c:pt idx="45">
                  <c:v>583.79678946322679</c:v>
                </c:pt>
                <c:pt idx="46">
                  <c:v>596.58743921533937</c:v>
                </c:pt>
                <c:pt idx="47">
                  <c:v>609.60188957706919</c:v>
                </c:pt>
                <c:pt idx="48">
                  <c:v>622.85351606587506</c:v>
                </c:pt>
                <c:pt idx="49">
                  <c:v>636.35508068450122</c:v>
                </c:pt>
                <c:pt idx="50">
                  <c:v>650.10955962546132</c:v>
                </c:pt>
                <c:pt idx="51">
                  <c:v>664.1155824503453</c:v>
                </c:pt>
                <c:pt idx="52">
                  <c:v>678.37158161179627</c:v>
                </c:pt>
                <c:pt idx="53">
                  <c:v>692.88341003300388</c:v>
                </c:pt>
                <c:pt idx="54">
                  <c:v>707.65967605269918</c:v>
                </c:pt>
                <c:pt idx="55">
                  <c:v>722.70922842438483</c:v>
                </c:pt>
                <c:pt idx="56">
                  <c:v>738.03453413411512</c:v>
                </c:pt>
                <c:pt idx="57">
                  <c:v>753.63755016133223</c:v>
                </c:pt>
                <c:pt idx="58">
                  <c:v>769.52158899856522</c:v>
                </c:pt>
                <c:pt idx="59">
                  <c:v>785.69315777283816</c:v>
                </c:pt>
                <c:pt idx="60">
                  <c:v>802.15796237984387</c:v>
                </c:pt>
                <c:pt idx="61">
                  <c:v>818.92161351372351</c:v>
                </c:pt>
                <c:pt idx="62">
                  <c:v>835.98972795143823</c:v>
                </c:pt>
                <c:pt idx="63">
                  <c:v>853.36642968769343</c:v>
                </c:pt>
                <c:pt idx="64">
                  <c:v>871.05708247580219</c:v>
                </c:pt>
                <c:pt idx="65">
                  <c:v>889.06730826824833</c:v>
                </c:pt>
                <c:pt idx="66">
                  <c:v>907.40281333113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40</c:v>
                </c:pt>
                <c:pt idx="2">
                  <c:v>56</c:v>
                </c:pt>
                <c:pt idx="3">
                  <c:v>66</c:v>
                </c:pt>
                <c:pt idx="4">
                  <c:v>80</c:v>
                </c:pt>
                <c:pt idx="5">
                  <c:v>104</c:v>
                </c:pt>
                <c:pt idx="6">
                  <c:v>120</c:v>
                </c:pt>
                <c:pt idx="7">
                  <c:v>129</c:v>
                </c:pt>
                <c:pt idx="8">
                  <c:v>140</c:v>
                </c:pt>
                <c:pt idx="9">
                  <c:v>151</c:v>
                </c:pt>
                <c:pt idx="10">
                  <c:v>156</c:v>
                </c:pt>
                <c:pt idx="11">
                  <c:v>159</c:v>
                </c:pt>
                <c:pt idx="12">
                  <c:v>166</c:v>
                </c:pt>
                <c:pt idx="13">
                  <c:v>177</c:v>
                </c:pt>
                <c:pt idx="14">
                  <c:v>187</c:v>
                </c:pt>
                <c:pt idx="15">
                  <c:v>193</c:v>
                </c:pt>
                <c:pt idx="16">
                  <c:v>202</c:v>
                </c:pt>
                <c:pt idx="17">
                  <c:v>206</c:v>
                </c:pt>
                <c:pt idx="18">
                  <c:v>211</c:v>
                </c:pt>
                <c:pt idx="19">
                  <c:v>217</c:v>
                </c:pt>
                <c:pt idx="20">
                  <c:v>222</c:v>
                </c:pt>
                <c:pt idx="21">
                  <c:v>225</c:v>
                </c:pt>
                <c:pt idx="22">
                  <c:v>234</c:v>
                </c:pt>
                <c:pt idx="23">
                  <c:v>238</c:v>
                </c:pt>
                <c:pt idx="24">
                  <c:v>245</c:v>
                </c:pt>
                <c:pt idx="25">
                  <c:v>250</c:v>
                </c:pt>
                <c:pt idx="26">
                  <c:v>251</c:v>
                </c:pt>
                <c:pt idx="27">
                  <c:v>253</c:v>
                </c:pt>
                <c:pt idx="28">
                  <c:v>260</c:v>
                </c:pt>
                <c:pt idx="29">
                  <c:v>264</c:v>
                </c:pt>
                <c:pt idx="30">
                  <c:v>265</c:v>
                </c:pt>
                <c:pt idx="31">
                  <c:v>266</c:v>
                </c:pt>
                <c:pt idx="32">
                  <c:v>270</c:v>
                </c:pt>
                <c:pt idx="33">
                  <c:v>274</c:v>
                </c:pt>
                <c:pt idx="34">
                  <c:v>274</c:v>
                </c:pt>
                <c:pt idx="35">
                  <c:v>274</c:v>
                </c:pt>
                <c:pt idx="36">
                  <c:v>281</c:v>
                </c:pt>
                <c:pt idx="37">
                  <c:v>281</c:v>
                </c:pt>
                <c:pt idx="38">
                  <c:v>286</c:v>
                </c:pt>
                <c:pt idx="39">
                  <c:v>290</c:v>
                </c:pt>
                <c:pt idx="40">
                  <c:v>292</c:v>
                </c:pt>
                <c:pt idx="41">
                  <c:v>295</c:v>
                </c:pt>
                <c:pt idx="42">
                  <c:v>298</c:v>
                </c:pt>
                <c:pt idx="43">
                  <c:v>300</c:v>
                </c:pt>
                <c:pt idx="44">
                  <c:v>300</c:v>
                </c:pt>
                <c:pt idx="45">
                  <c:v>300</c:v>
                </c:pt>
                <c:pt idx="46">
                  <c:v>302</c:v>
                </c:pt>
                <c:pt idx="47">
                  <c:v>303</c:v>
                </c:pt>
                <c:pt idx="48">
                  <c:v>303</c:v>
                </c:pt>
                <c:pt idx="49">
                  <c:v>303</c:v>
                </c:pt>
                <c:pt idx="50">
                  <c:v>303</c:v>
                </c:pt>
                <c:pt idx="51">
                  <c:v>303</c:v>
                </c:pt>
                <c:pt idx="52">
                  <c:v>304</c:v>
                </c:pt>
                <c:pt idx="53">
                  <c:v>305</c:v>
                </c:pt>
                <c:pt idx="54">
                  <c:v>305</c:v>
                </c:pt>
                <c:pt idx="55">
                  <c:v>306</c:v>
                </c:pt>
                <c:pt idx="56">
                  <c:v>307</c:v>
                </c:pt>
                <c:pt idx="57">
                  <c:v>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3.58612107151561</c:v>
                </c:pt>
                <c:pt idx="27">
                  <c:v>258.02323672468629</c:v>
                </c:pt>
                <c:pt idx="28">
                  <c:v>262.29263632318742</c:v>
                </c:pt>
                <c:pt idx="29">
                  <c:v>266.41012350673674</c:v>
                </c:pt>
                <c:pt idx="30">
                  <c:v>270.38625122392722</c:v>
                </c:pt>
                <c:pt idx="31">
                  <c:v>274.25538763128219</c:v>
                </c:pt>
                <c:pt idx="32">
                  <c:v>278.02554487746772</c:v>
                </c:pt>
                <c:pt idx="33">
                  <c:v>281.67839111132929</c:v>
                </c:pt>
                <c:pt idx="34">
                  <c:v>285.21722513434395</c:v>
                </c:pt>
                <c:pt idx="35">
                  <c:v>288.63446798927265</c:v>
                </c:pt>
                <c:pt idx="36">
                  <c:v>291.92068942924317</c:v>
                </c:pt>
                <c:pt idx="37">
                  <c:v>295.06051916790727</c:v>
                </c:pt>
                <c:pt idx="38">
                  <c:v>298.06013902615382</c:v>
                </c:pt>
                <c:pt idx="39">
                  <c:v>300.92698919370031</c:v>
                </c:pt>
                <c:pt idx="40">
                  <c:v>303.6640239631032</c:v>
                </c:pt>
                <c:pt idx="41">
                  <c:v>306.27733714439165</c:v>
                </c:pt>
                <c:pt idx="42">
                  <c:v>308.77079749611283</c:v>
                </c:pt>
                <c:pt idx="43">
                  <c:v>311.14728876428381</c:v>
                </c:pt>
                <c:pt idx="44">
                  <c:v>313.40973850452383</c:v>
                </c:pt>
                <c:pt idx="45">
                  <c:v>315.566316523061</c:v>
                </c:pt>
                <c:pt idx="46">
                  <c:v>317.622050449028</c:v>
                </c:pt>
                <c:pt idx="47">
                  <c:v>319.58092243514267</c:v>
                </c:pt>
                <c:pt idx="48">
                  <c:v>321.44869571291974</c:v>
                </c:pt>
                <c:pt idx="49">
                  <c:v>323.22926012961415</c:v>
                </c:pt>
                <c:pt idx="50">
                  <c:v>324.92686715028043</c:v>
                </c:pt>
                <c:pt idx="51">
                  <c:v>326.54539584473008</c:v>
                </c:pt>
                <c:pt idx="52">
                  <c:v>328.08825270525705</c:v>
                </c:pt>
                <c:pt idx="53">
                  <c:v>329.56030687520581</c:v>
                </c:pt>
                <c:pt idx="54">
                  <c:v>330.96564989527246</c:v>
                </c:pt>
                <c:pt idx="55">
                  <c:v>332.30641820736031</c:v>
                </c:pt>
                <c:pt idx="56">
                  <c:v>333.58641535241725</c:v>
                </c:pt>
                <c:pt idx="57">
                  <c:v>334.80843684766495</c:v>
                </c:pt>
                <c:pt idx="58">
                  <c:v>335.97501483543499</c:v>
                </c:pt>
                <c:pt idx="59">
                  <c:v>337.08942854982627</c:v>
                </c:pt>
                <c:pt idx="60">
                  <c:v>338.15416884402515</c:v>
                </c:pt>
                <c:pt idx="61">
                  <c:v>339.1715248618242</c:v>
                </c:pt>
                <c:pt idx="62">
                  <c:v>340.1445678720367</c:v>
                </c:pt>
                <c:pt idx="63">
                  <c:v>341.07475886115174</c:v>
                </c:pt>
                <c:pt idx="64">
                  <c:v>341.96492152255854</c:v>
                </c:pt>
                <c:pt idx="65">
                  <c:v>342.81638851421405</c:v>
                </c:pt>
                <c:pt idx="66">
                  <c:v>343.6318732703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3.69913500011714</c:v>
                </c:pt>
                <c:pt idx="27">
                  <c:v>258.33439647782035</c:v>
                </c:pt>
                <c:pt idx="28">
                  <c:v>262.85879664300012</c:v>
                </c:pt>
                <c:pt idx="29">
                  <c:v>267.27068136566368</c:v>
                </c:pt>
                <c:pt idx="30">
                  <c:v>271.59274386858891</c:v>
                </c:pt>
                <c:pt idx="31">
                  <c:v>275.87017960552629</c:v>
                </c:pt>
                <c:pt idx="32">
                  <c:v>280.11829716599988</c:v>
                </c:pt>
                <c:pt idx="33">
                  <c:v>284.32314290198821</c:v>
                </c:pt>
                <c:pt idx="34">
                  <c:v>288.47167896503481</c:v>
                </c:pt>
                <c:pt idx="35">
                  <c:v>292.54809375643862</c:v>
                </c:pt>
                <c:pt idx="36">
                  <c:v>296.5394609491575</c:v>
                </c:pt>
                <c:pt idx="37">
                  <c:v>300.43382107714115</c:v>
                </c:pt>
                <c:pt idx="38">
                  <c:v>304.23579905578646</c:v>
                </c:pt>
                <c:pt idx="39">
                  <c:v>307.9481179747504</c:v>
                </c:pt>
                <c:pt idx="40">
                  <c:v>311.56659657141569</c:v>
                </c:pt>
                <c:pt idx="41">
                  <c:v>315.09110267595099</c:v>
                </c:pt>
                <c:pt idx="42">
                  <c:v>318.52461118498405</c:v>
                </c:pt>
                <c:pt idx="43">
                  <c:v>321.86754272929403</c:v>
                </c:pt>
                <c:pt idx="44">
                  <c:v>325.11946374075234</c:v>
                </c:pt>
                <c:pt idx="45">
                  <c:v>328.28496552822787</c:v>
                </c:pt>
                <c:pt idx="46">
                  <c:v>331.36734822212401</c:v>
                </c:pt>
                <c:pt idx="47">
                  <c:v>334.3674682101431</c:v>
                </c:pt>
                <c:pt idx="48">
                  <c:v>337.28688957794935</c:v>
                </c:pt>
                <c:pt idx="49">
                  <c:v>340.12947159952694</c:v>
                </c:pt>
                <c:pt idx="50">
                  <c:v>342.89604462736554</c:v>
                </c:pt>
                <c:pt idx="51">
                  <c:v>345.5890464711477</c:v>
                </c:pt>
                <c:pt idx="52">
                  <c:v>348.20998545059331</c:v>
                </c:pt>
                <c:pt idx="53">
                  <c:v>350.76180463972281</c:v>
                </c:pt>
                <c:pt idx="54">
                  <c:v>353.24669785329809</c:v>
                </c:pt>
                <c:pt idx="55">
                  <c:v>355.66581121937611</c:v>
                </c:pt>
                <c:pt idx="56">
                  <c:v>358.02132299996981</c:v>
                </c:pt>
                <c:pt idx="57">
                  <c:v>360.31515394150745</c:v>
                </c:pt>
                <c:pt idx="58">
                  <c:v>362.5483243570344</c:v>
                </c:pt>
                <c:pt idx="59">
                  <c:v>364.72336015437514</c:v>
                </c:pt>
                <c:pt idx="60">
                  <c:v>366.84134512263131</c:v>
                </c:pt>
                <c:pt idx="61">
                  <c:v>368.90477006156755</c:v>
                </c:pt>
                <c:pt idx="62">
                  <c:v>370.91468858742991</c:v>
                </c:pt>
                <c:pt idx="63">
                  <c:v>372.87273205217531</c:v>
                </c:pt>
                <c:pt idx="64">
                  <c:v>374.78060399290899</c:v>
                </c:pt>
                <c:pt idx="65">
                  <c:v>376.63916824623789</c:v>
                </c:pt>
                <c:pt idx="66">
                  <c:v>378.4499584100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3.81129276259242</c:v>
                </c:pt>
                <c:pt idx="27">
                  <c:v>258.64452212592744</c:v>
                </c:pt>
                <c:pt idx="28">
                  <c:v>263.42384215579779</c:v>
                </c:pt>
                <c:pt idx="29">
                  <c:v>268.13004578381987</c:v>
                </c:pt>
                <c:pt idx="30">
                  <c:v>272.8030960244057</c:v>
                </c:pt>
                <c:pt idx="31">
                  <c:v>277.50350954421089</c:v>
                </c:pt>
                <c:pt idx="32">
                  <c:v>282.25765679682974</c:v>
                </c:pt>
                <c:pt idx="33">
                  <c:v>287.05730483324584</c:v>
                </c:pt>
                <c:pt idx="34">
                  <c:v>291.87157934267793</c:v>
                </c:pt>
                <c:pt idx="35">
                  <c:v>296.67613884162051</c:v>
                </c:pt>
                <c:pt idx="36">
                  <c:v>301.46042875252266</c:v>
                </c:pt>
                <c:pt idx="37">
                  <c:v>306.22117189482668</c:v>
                </c:pt>
                <c:pt idx="38">
                  <c:v>310.9615404295256</c:v>
                </c:pt>
                <c:pt idx="39">
                  <c:v>315.67953791482978</c:v>
                </c:pt>
                <c:pt idx="40">
                  <c:v>320.36709731590724</c:v>
                </c:pt>
                <c:pt idx="41">
                  <c:v>325.01824388287037</c:v>
                </c:pt>
                <c:pt idx="42">
                  <c:v>329.63407467216012</c:v>
                </c:pt>
                <c:pt idx="43">
                  <c:v>334.21634556507729</c:v>
                </c:pt>
                <c:pt idx="44">
                  <c:v>338.76497111001186</c:v>
                </c:pt>
                <c:pt idx="45">
                  <c:v>343.2804209834494</c:v>
                </c:pt>
                <c:pt idx="46">
                  <c:v>347.76039815652013</c:v>
                </c:pt>
                <c:pt idx="47">
                  <c:v>352.2039533448779</c:v>
                </c:pt>
                <c:pt idx="48">
                  <c:v>356.61312065762201</c:v>
                </c:pt>
                <c:pt idx="49">
                  <c:v>360.98853521543572</c:v>
                </c:pt>
                <c:pt idx="50">
                  <c:v>365.33067337820097</c:v>
                </c:pt>
                <c:pt idx="51">
                  <c:v>369.6386757642897</c:v>
                </c:pt>
                <c:pt idx="52">
                  <c:v>373.9127440880909</c:v>
                </c:pt>
                <c:pt idx="53">
                  <c:v>378.15323256910261</c:v>
                </c:pt>
                <c:pt idx="54">
                  <c:v>382.36040104553859</c:v>
                </c:pt>
                <c:pt idx="55">
                  <c:v>386.53609882894375</c:v>
                </c:pt>
                <c:pt idx="56">
                  <c:v>390.67951074095782</c:v>
                </c:pt>
                <c:pt idx="57">
                  <c:v>394.79061256720257</c:v>
                </c:pt>
                <c:pt idx="58">
                  <c:v>398.87036974131138</c:v>
                </c:pt>
                <c:pt idx="59">
                  <c:v>402.91735887785831</c:v>
                </c:pt>
                <c:pt idx="60">
                  <c:v>406.93312250983541</c:v>
                </c:pt>
                <c:pt idx="61">
                  <c:v>410.91803997917953</c:v>
                </c:pt>
                <c:pt idx="62">
                  <c:v>414.87226995938079</c:v>
                </c:pt>
                <c:pt idx="63">
                  <c:v>418.79593591999634</c:v>
                </c:pt>
                <c:pt idx="64">
                  <c:v>422.68915948133224</c:v>
                </c:pt>
                <c:pt idx="65">
                  <c:v>426.55288976475003</c:v>
                </c:pt>
                <c:pt idx="66">
                  <c:v>430.38654882051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3.97995748936845</c:v>
                </c:pt>
                <c:pt idx="27">
                  <c:v>259.11108381672727</c:v>
                </c:pt>
                <c:pt idx="28">
                  <c:v>264.27343001659119</c:v>
                </c:pt>
                <c:pt idx="29">
                  <c:v>269.4213209909671</c:v>
                </c:pt>
                <c:pt idx="30">
                  <c:v>274.63257208790594</c:v>
                </c:pt>
                <c:pt idx="31">
                  <c:v>279.99784713702996</c:v>
                </c:pt>
                <c:pt idx="32">
                  <c:v>285.56474767043358</c:v>
                </c:pt>
                <c:pt idx="33">
                  <c:v>291.33822071879428</c:v>
                </c:pt>
                <c:pt idx="34">
                  <c:v>297.25825294231709</c:v>
                </c:pt>
                <c:pt idx="35">
                  <c:v>303.29269655702109</c:v>
                </c:pt>
                <c:pt idx="36">
                  <c:v>309.44096027630837</c:v>
                </c:pt>
                <c:pt idx="37">
                  <c:v>315.72417360689502</c:v>
                </c:pt>
                <c:pt idx="38">
                  <c:v>322.15186691788529</c:v>
                </c:pt>
                <c:pt idx="39">
                  <c:v>328.71720956678024</c:v>
                </c:pt>
                <c:pt idx="40">
                  <c:v>335.40480870938205</c:v>
                </c:pt>
                <c:pt idx="41">
                  <c:v>342.20616419723291</c:v>
                </c:pt>
                <c:pt idx="42">
                  <c:v>349.13095840898461</c:v>
                </c:pt>
                <c:pt idx="43">
                  <c:v>356.18985096111629</c:v>
                </c:pt>
                <c:pt idx="44">
                  <c:v>363.38697403670801</c:v>
                </c:pt>
                <c:pt idx="45">
                  <c:v>370.7191973314649</c:v>
                </c:pt>
                <c:pt idx="46">
                  <c:v>378.18278432869226</c:v>
                </c:pt>
                <c:pt idx="47">
                  <c:v>385.77712110114737</c:v>
                </c:pt>
                <c:pt idx="48">
                  <c:v>393.50985774085507</c:v>
                </c:pt>
                <c:pt idx="49">
                  <c:v>401.38836176460489</c:v>
                </c:pt>
                <c:pt idx="50">
                  <c:v>409.4143119781113</c:v>
                </c:pt>
                <c:pt idx="51">
                  <c:v>417.58702747640223</c:v>
                </c:pt>
                <c:pt idx="52">
                  <c:v>425.90575135862059</c:v>
                </c:pt>
                <c:pt idx="53">
                  <c:v>434.37390030370358</c:v>
                </c:pt>
                <c:pt idx="54">
                  <c:v>442.99637683969445</c:v>
                </c:pt>
                <c:pt idx="55">
                  <c:v>451.77831471860486</c:v>
                </c:pt>
                <c:pt idx="56">
                  <c:v>460.72115405143916</c:v>
                </c:pt>
                <c:pt idx="57">
                  <c:v>469.82606508173649</c:v>
                </c:pt>
                <c:pt idx="58">
                  <c:v>479.09500005802329</c:v>
                </c:pt>
                <c:pt idx="59">
                  <c:v>488.53173336765667</c:v>
                </c:pt>
                <c:pt idx="60">
                  <c:v>498.13958642221769</c:v>
                </c:pt>
                <c:pt idx="61">
                  <c:v>507.92182960488134</c:v>
                </c:pt>
                <c:pt idx="62">
                  <c:v>517.88173530265976</c:v>
                </c:pt>
                <c:pt idx="63">
                  <c:v>528.02172661515749</c:v>
                </c:pt>
                <c:pt idx="64">
                  <c:v>538.34493491111652</c:v>
                </c:pt>
                <c:pt idx="65">
                  <c:v>548.85463840327657</c:v>
                </c:pt>
                <c:pt idx="66">
                  <c:v>559.554165309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83</c:v>
                </c:pt>
                <c:pt idx="3">
                  <c:v>105</c:v>
                </c:pt>
                <c:pt idx="4">
                  <c:v>122</c:v>
                </c:pt>
                <c:pt idx="5">
                  <c:v>156</c:v>
                </c:pt>
                <c:pt idx="6">
                  <c:v>191</c:v>
                </c:pt>
                <c:pt idx="7">
                  <c:v>208</c:v>
                </c:pt>
                <c:pt idx="8">
                  <c:v>239</c:v>
                </c:pt>
                <c:pt idx="9">
                  <c:v>254</c:v>
                </c:pt>
                <c:pt idx="10">
                  <c:v>266</c:v>
                </c:pt>
                <c:pt idx="11">
                  <c:v>285</c:v>
                </c:pt>
                <c:pt idx="12">
                  <c:v>303</c:v>
                </c:pt>
                <c:pt idx="13">
                  <c:v>324</c:v>
                </c:pt>
                <c:pt idx="14">
                  <c:v>347</c:v>
                </c:pt>
                <c:pt idx="15">
                  <c:v>372</c:v>
                </c:pt>
                <c:pt idx="16">
                  <c:v>387</c:v>
                </c:pt>
                <c:pt idx="17">
                  <c:v>398</c:v>
                </c:pt>
                <c:pt idx="18">
                  <c:v>417</c:v>
                </c:pt>
                <c:pt idx="19">
                  <c:v>427</c:v>
                </c:pt>
                <c:pt idx="20">
                  <c:v>437</c:v>
                </c:pt>
                <c:pt idx="21">
                  <c:v>446</c:v>
                </c:pt>
                <c:pt idx="22">
                  <c:v>465</c:v>
                </c:pt>
                <c:pt idx="23">
                  <c:v>471</c:v>
                </c:pt>
                <c:pt idx="24">
                  <c:v>477</c:v>
                </c:pt>
                <c:pt idx="25">
                  <c:v>482</c:v>
                </c:pt>
                <c:pt idx="26">
                  <c:v>493</c:v>
                </c:pt>
                <c:pt idx="27">
                  <c:v>501</c:v>
                </c:pt>
                <c:pt idx="28">
                  <c:v>513</c:v>
                </c:pt>
                <c:pt idx="29">
                  <c:v>519</c:v>
                </c:pt>
                <c:pt idx="30">
                  <c:v>522</c:v>
                </c:pt>
                <c:pt idx="31">
                  <c:v>529</c:v>
                </c:pt>
                <c:pt idx="32">
                  <c:v>537</c:v>
                </c:pt>
                <c:pt idx="33">
                  <c:v>541</c:v>
                </c:pt>
                <c:pt idx="34">
                  <c:v>549</c:v>
                </c:pt>
                <c:pt idx="35">
                  <c:v>555</c:v>
                </c:pt>
                <c:pt idx="36">
                  <c:v>560</c:v>
                </c:pt>
                <c:pt idx="37">
                  <c:v>564</c:v>
                </c:pt>
                <c:pt idx="38">
                  <c:v>570</c:v>
                </c:pt>
                <c:pt idx="39">
                  <c:v>575</c:v>
                </c:pt>
                <c:pt idx="40">
                  <c:v>577</c:v>
                </c:pt>
                <c:pt idx="41">
                  <c:v>586</c:v>
                </c:pt>
                <c:pt idx="42">
                  <c:v>595</c:v>
                </c:pt>
                <c:pt idx="43">
                  <c:v>597</c:v>
                </c:pt>
                <c:pt idx="44">
                  <c:v>600</c:v>
                </c:pt>
                <c:pt idx="45">
                  <c:v>602</c:v>
                </c:pt>
                <c:pt idx="46">
                  <c:v>607</c:v>
                </c:pt>
                <c:pt idx="47">
                  <c:v>610</c:v>
                </c:pt>
                <c:pt idx="48">
                  <c:v>614</c:v>
                </c:pt>
                <c:pt idx="49">
                  <c:v>617</c:v>
                </c:pt>
                <c:pt idx="50">
                  <c:v>618</c:v>
                </c:pt>
                <c:pt idx="51">
                  <c:v>620</c:v>
                </c:pt>
                <c:pt idx="52">
                  <c:v>624</c:v>
                </c:pt>
                <c:pt idx="53">
                  <c:v>624</c:v>
                </c:pt>
                <c:pt idx="54">
                  <c:v>624</c:v>
                </c:pt>
                <c:pt idx="55">
                  <c:v>625</c:v>
                </c:pt>
                <c:pt idx="56">
                  <c:v>627</c:v>
                </c:pt>
                <c:pt idx="57">
                  <c:v>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90.38476455243415</c:v>
                </c:pt>
                <c:pt idx="27">
                  <c:v>499.45790221018427</c:v>
                </c:pt>
                <c:pt idx="28">
                  <c:v>508.18966207066728</c:v>
                </c:pt>
                <c:pt idx="29">
                  <c:v>516.61309320479381</c:v>
                </c:pt>
                <c:pt idx="30">
                  <c:v>524.74354462433769</c:v>
                </c:pt>
                <c:pt idx="31">
                  <c:v>532.64801887783597</c:v>
                </c:pt>
                <c:pt idx="32">
                  <c:v>540.33950199602623</c:v>
                </c:pt>
                <c:pt idx="33">
                  <c:v>547.78080622202333</c:v>
                </c:pt>
                <c:pt idx="34">
                  <c:v>554.98208934976753</c:v>
                </c:pt>
                <c:pt idx="35">
                  <c:v>561.93208840586408</c:v>
                </c:pt>
                <c:pt idx="36">
                  <c:v>568.61407215241479</c:v>
                </c:pt>
                <c:pt idx="37">
                  <c:v>574.9970185962128</c:v>
                </c:pt>
                <c:pt idx="38">
                  <c:v>581.09392545467176</c:v>
                </c:pt>
                <c:pt idx="39">
                  <c:v>586.92013386702706</c:v>
                </c:pt>
                <c:pt idx="40">
                  <c:v>592.48214612521633</c:v>
                </c:pt>
                <c:pt idx="41">
                  <c:v>597.79256468106882</c:v>
                </c:pt>
                <c:pt idx="42">
                  <c:v>602.85929659993735</c:v>
                </c:pt>
                <c:pt idx="43">
                  <c:v>607.68823296276173</c:v>
                </c:pt>
                <c:pt idx="44">
                  <c:v>612.28546407121564</c:v>
                </c:pt>
                <c:pt idx="45">
                  <c:v>616.66737553460257</c:v>
                </c:pt>
                <c:pt idx="46">
                  <c:v>620.84393342199166</c:v>
                </c:pt>
                <c:pt idx="47">
                  <c:v>624.8236841313751</c:v>
                </c:pt>
                <c:pt idx="48">
                  <c:v>628.61844973416237</c:v>
                </c:pt>
                <c:pt idx="49">
                  <c:v>632.23600766203742</c:v>
                </c:pt>
                <c:pt idx="50">
                  <c:v>635.6852200521522</c:v>
                </c:pt>
                <c:pt idx="51">
                  <c:v>638.97386379538034</c:v>
                </c:pt>
                <c:pt idx="52">
                  <c:v>642.10865003909271</c:v>
                </c:pt>
                <c:pt idx="53">
                  <c:v>645.09950118469919</c:v>
                </c:pt>
                <c:pt idx="54">
                  <c:v>647.95494491824138</c:v>
                </c:pt>
                <c:pt idx="55">
                  <c:v>650.67914215232031</c:v>
                </c:pt>
                <c:pt idx="56">
                  <c:v>653.27993458311914</c:v>
                </c:pt>
                <c:pt idx="57">
                  <c:v>655.76300409049907</c:v>
                </c:pt>
                <c:pt idx="58">
                  <c:v>658.13346365271764</c:v>
                </c:pt>
                <c:pt idx="59">
                  <c:v>660.39800525094188</c:v>
                </c:pt>
                <c:pt idx="60">
                  <c:v>662.56168007317717</c:v>
                </c:pt>
                <c:pt idx="61">
                  <c:v>664.62912020801673</c:v>
                </c:pt>
                <c:pt idx="62">
                  <c:v>666.60660785584309</c:v>
                </c:pt>
                <c:pt idx="63">
                  <c:v>668.49705889129928</c:v>
                </c:pt>
                <c:pt idx="64">
                  <c:v>670.30624939407141</c:v>
                </c:pt>
                <c:pt idx="65">
                  <c:v>672.03684185492989</c:v>
                </c:pt>
                <c:pt idx="66">
                  <c:v>673.69439349124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90.62167630349677</c:v>
                </c:pt>
                <c:pt idx="27">
                  <c:v>500.1101064212653</c:v>
                </c:pt>
                <c:pt idx="28">
                  <c:v>509.3754433257248</c:v>
                </c:pt>
                <c:pt idx="29">
                  <c:v>518.41354301656679</c:v>
                </c:pt>
                <c:pt idx="30">
                  <c:v>527.26456356196377</c:v>
                </c:pt>
                <c:pt idx="31">
                  <c:v>536.01745520255861</c:v>
                </c:pt>
                <c:pt idx="32">
                  <c:v>544.69992486335752</c:v>
                </c:pt>
                <c:pt idx="33">
                  <c:v>553.2835741032095</c:v>
                </c:pt>
                <c:pt idx="34">
                  <c:v>561.74426869992112</c:v>
                </c:pt>
                <c:pt idx="35">
                  <c:v>570.0535474583229</c:v>
                </c:pt>
                <c:pt idx="36">
                  <c:v>578.18759886799671</c:v>
                </c:pt>
                <c:pt idx="37">
                  <c:v>586.12278278003691</c:v>
                </c:pt>
                <c:pt idx="38">
                  <c:v>593.86897973890257</c:v>
                </c:pt>
                <c:pt idx="39">
                  <c:v>601.43181611052228</c:v>
                </c:pt>
                <c:pt idx="40">
                  <c:v>608.80304060134324</c:v>
                </c:pt>
                <c:pt idx="41">
                  <c:v>615.98246227703328</c:v>
                </c:pt>
                <c:pt idx="42">
                  <c:v>622.97633901109384</c:v>
                </c:pt>
                <c:pt idx="43">
                  <c:v>629.78564968127762</c:v>
                </c:pt>
                <c:pt idx="44">
                  <c:v>636.40961828776562</c:v>
                </c:pt>
                <c:pt idx="45">
                  <c:v>642.85732281622143</c:v>
                </c:pt>
                <c:pt idx="46">
                  <c:v>649.13529404198061</c:v>
                </c:pt>
                <c:pt idx="47">
                  <c:v>655.24571032425536</c:v>
                </c:pt>
                <c:pt idx="48">
                  <c:v>661.19176574251946</c:v>
                </c:pt>
                <c:pt idx="49">
                  <c:v>666.98133879805596</c:v>
                </c:pt>
                <c:pt idx="50">
                  <c:v>672.61626235637482</c:v>
                </c:pt>
                <c:pt idx="51">
                  <c:v>678.10141859639191</c:v>
                </c:pt>
                <c:pt idx="52">
                  <c:v>683.43966456947214</c:v>
                </c:pt>
                <c:pt idx="53">
                  <c:v>688.63700197335243</c:v>
                </c:pt>
                <c:pt idx="54">
                  <c:v>693.69808455947032</c:v>
                </c:pt>
                <c:pt idx="55">
                  <c:v>698.62511956603726</c:v>
                </c:pt>
                <c:pt idx="56">
                  <c:v>703.42263986672651</c:v>
                </c:pt>
                <c:pt idx="57">
                  <c:v>708.09458856347931</c:v>
                </c:pt>
                <c:pt idx="58">
                  <c:v>712.64299355670505</c:v>
                </c:pt>
                <c:pt idx="59">
                  <c:v>717.07304525919187</c:v>
                </c:pt>
                <c:pt idx="60">
                  <c:v>721.38691885469848</c:v>
                </c:pt>
                <c:pt idx="61">
                  <c:v>725.58973449035602</c:v>
                </c:pt>
                <c:pt idx="62">
                  <c:v>729.68360802114796</c:v>
                </c:pt>
                <c:pt idx="63">
                  <c:v>733.67186169508216</c:v>
                </c:pt>
                <c:pt idx="64">
                  <c:v>737.55797624011291</c:v>
                </c:pt>
                <c:pt idx="65">
                  <c:v>741.34367265714036</c:v>
                </c:pt>
                <c:pt idx="66">
                  <c:v>745.03207635277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90.85679326856553</c:v>
                </c:pt>
                <c:pt idx="27">
                  <c:v>500.76014345152259</c:v>
                </c:pt>
                <c:pt idx="28">
                  <c:v>510.55889470675754</c:v>
                </c:pt>
                <c:pt idx="29">
                  <c:v>520.21150573257273</c:v>
                </c:pt>
                <c:pt idx="30">
                  <c:v>529.79369796728565</c:v>
                </c:pt>
                <c:pt idx="31">
                  <c:v>539.42578686412821</c:v>
                </c:pt>
                <c:pt idx="32">
                  <c:v>549.15804948873142</c:v>
                </c:pt>
                <c:pt idx="33">
                  <c:v>558.97361667059658</c:v>
                </c:pt>
                <c:pt idx="34">
                  <c:v>568.81080579432069</c:v>
                </c:pt>
                <c:pt idx="35">
                  <c:v>578.62319500085732</c:v>
                </c:pt>
                <c:pt idx="36">
                  <c:v>588.39205151570172</c:v>
                </c:pt>
                <c:pt idx="37">
                  <c:v>598.11202663058316</c:v>
                </c:pt>
                <c:pt idx="38">
                  <c:v>607.78995130678288</c:v>
                </c:pt>
                <c:pt idx="39">
                  <c:v>617.42159208652106</c:v>
                </c:pt>
                <c:pt idx="40">
                  <c:v>626.99065013223776</c:v>
                </c:pt>
                <c:pt idx="41">
                  <c:v>636.48484508302215</c:v>
                </c:pt>
                <c:pt idx="42">
                  <c:v>645.90660942907505</c:v>
                </c:pt>
                <c:pt idx="43">
                  <c:v>655.25987424471418</c:v>
                </c:pt>
                <c:pt idx="44">
                  <c:v>664.54469621056091</c:v>
                </c:pt>
                <c:pt idx="45">
                  <c:v>673.76162242570172</c:v>
                </c:pt>
                <c:pt idx="46">
                  <c:v>682.90555794771274</c:v>
                </c:pt>
                <c:pt idx="47">
                  <c:v>691.97502638116168</c:v>
                </c:pt>
                <c:pt idx="48">
                  <c:v>700.97434955831454</c:v>
                </c:pt>
                <c:pt idx="49">
                  <c:v>709.90477029585372</c:v>
                </c:pt>
                <c:pt idx="50">
                  <c:v>718.76747247424703</c:v>
                </c:pt>
                <c:pt idx="51">
                  <c:v>727.56054592240025</c:v>
                </c:pt>
                <c:pt idx="52">
                  <c:v>736.28420655374521</c:v>
                </c:pt>
                <c:pt idx="53">
                  <c:v>744.93913729717565</c:v>
                </c:pt>
                <c:pt idx="54">
                  <c:v>753.52603342273574</c:v>
                </c:pt>
                <c:pt idx="55">
                  <c:v>762.04868826621998</c:v>
                </c:pt>
                <c:pt idx="56">
                  <c:v>770.50545553843267</c:v>
                </c:pt>
                <c:pt idx="57">
                  <c:v>778.8962826618731</c:v>
                </c:pt>
                <c:pt idx="58">
                  <c:v>787.22317727989969</c:v>
                </c:pt>
                <c:pt idx="59">
                  <c:v>795.48313905172677</c:v>
                </c:pt>
                <c:pt idx="60">
                  <c:v>803.67937929022787</c:v>
                </c:pt>
                <c:pt idx="61">
                  <c:v>811.81268478858146</c:v>
                </c:pt>
                <c:pt idx="62">
                  <c:v>819.88337074909509</c:v>
                </c:pt>
                <c:pt idx="63">
                  <c:v>827.89167899885956</c:v>
                </c:pt>
                <c:pt idx="64">
                  <c:v>835.83785124747442</c:v>
                </c:pt>
                <c:pt idx="65">
                  <c:v>843.72386234194141</c:v>
                </c:pt>
                <c:pt idx="66">
                  <c:v>851.54848833357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91.21036610916559</c:v>
                </c:pt>
                <c:pt idx="27">
                  <c:v>501.73807737331327</c:v>
                </c:pt>
                <c:pt idx="28">
                  <c:v>512.33830128913792</c:v>
                </c:pt>
                <c:pt idx="29">
                  <c:v>522.91310681889979</c:v>
                </c:pt>
                <c:pt idx="30">
                  <c:v>533.61660784308106</c:v>
                </c:pt>
                <c:pt idx="31">
                  <c:v>544.63118080048139</c:v>
                </c:pt>
                <c:pt idx="32">
                  <c:v>556.05059047406246</c:v>
                </c:pt>
                <c:pt idx="33">
                  <c:v>567.88476496069825</c:v>
                </c:pt>
                <c:pt idx="34">
                  <c:v>580.01050548279045</c:v>
                </c:pt>
                <c:pt idx="35">
                  <c:v>592.36463882412477</c:v>
                </c:pt>
                <c:pt idx="36">
                  <c:v>604.94920901208116</c:v>
                </c:pt>
                <c:pt idx="37">
                  <c:v>617.80986493140836</c:v>
                </c:pt>
                <c:pt idx="38">
                  <c:v>630.96646471134454</c:v>
                </c:pt>
                <c:pt idx="39">
                  <c:v>644.4043883119673</c:v>
                </c:pt>
                <c:pt idx="40">
                  <c:v>658.09182180253038</c:v>
                </c:pt>
                <c:pt idx="41">
                  <c:v>672.01114398662287</c:v>
                </c:pt>
                <c:pt idx="42">
                  <c:v>686.18266944220204</c:v>
                </c:pt>
                <c:pt idx="43">
                  <c:v>700.62892009777408</c:v>
                </c:pt>
                <c:pt idx="44">
                  <c:v>715.35862199179724</c:v>
                </c:pt>
                <c:pt idx="45">
                  <c:v>730.36463634834126</c:v>
                </c:pt>
                <c:pt idx="46">
                  <c:v>745.63872546840685</c:v>
                </c:pt>
                <c:pt idx="47">
                  <c:v>761.18003121948323</c:v>
                </c:pt>
                <c:pt idx="48">
                  <c:v>777.00456261133536</c:v>
                </c:pt>
                <c:pt idx="49">
                  <c:v>793.12757823486334</c:v>
                </c:pt>
                <c:pt idx="50">
                  <c:v>809.55264578430388</c:v>
                </c:pt>
                <c:pt idx="51">
                  <c:v>826.27810073098613</c:v>
                </c:pt>
                <c:pt idx="52">
                  <c:v>843.30203396577349</c:v>
                </c:pt>
                <c:pt idx="53">
                  <c:v>860.63143449146946</c:v>
                </c:pt>
                <c:pt idx="54">
                  <c:v>878.27661048295352</c:v>
                </c:pt>
                <c:pt idx="55">
                  <c:v>896.24813576681686</c:v>
                </c:pt>
                <c:pt idx="56">
                  <c:v>914.54895618420096</c:v>
                </c:pt>
                <c:pt idx="57">
                  <c:v>933.18140200777066</c:v>
                </c:pt>
                <c:pt idx="58">
                  <c:v>952.14942432372072</c:v>
                </c:pt>
                <c:pt idx="59">
                  <c:v>971.46079902574354</c:v>
                </c:pt>
                <c:pt idx="60">
                  <c:v>991.12234177608775</c:v>
                </c:pt>
                <c:pt idx="61">
                  <c:v>1011.1407534844692</c:v>
                </c:pt>
                <c:pt idx="62">
                  <c:v>1031.5227426889044</c:v>
                </c:pt>
                <c:pt idx="63">
                  <c:v>1052.2732301703977</c:v>
                </c:pt>
                <c:pt idx="64">
                  <c:v>1073.3986207538069</c:v>
                </c:pt>
                <c:pt idx="65">
                  <c:v>1094.9056284959956</c:v>
                </c:pt>
                <c:pt idx="66">
                  <c:v>1116.8010679475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67</c:v>
                </c:pt>
                <c:pt idx="3">
                  <c:v>95</c:v>
                </c:pt>
                <c:pt idx="4">
                  <c:v>113</c:v>
                </c:pt>
                <c:pt idx="5">
                  <c:v>144</c:v>
                </c:pt>
                <c:pt idx="6">
                  <c:v>159</c:v>
                </c:pt>
                <c:pt idx="7">
                  <c:v>185</c:v>
                </c:pt>
                <c:pt idx="8">
                  <c:v>201</c:v>
                </c:pt>
                <c:pt idx="9">
                  <c:v>217</c:v>
                </c:pt>
                <c:pt idx="10">
                  <c:v>234</c:v>
                </c:pt>
                <c:pt idx="11">
                  <c:v>263</c:v>
                </c:pt>
                <c:pt idx="12">
                  <c:v>273</c:v>
                </c:pt>
                <c:pt idx="13">
                  <c:v>298</c:v>
                </c:pt>
                <c:pt idx="14">
                  <c:v>318</c:v>
                </c:pt>
                <c:pt idx="15">
                  <c:v>332</c:v>
                </c:pt>
                <c:pt idx="16">
                  <c:v>347</c:v>
                </c:pt>
                <c:pt idx="17">
                  <c:v>359</c:v>
                </c:pt>
                <c:pt idx="18">
                  <c:v>375</c:v>
                </c:pt>
                <c:pt idx="19">
                  <c:v>397</c:v>
                </c:pt>
                <c:pt idx="20">
                  <c:v>426</c:v>
                </c:pt>
                <c:pt idx="21">
                  <c:v>436</c:v>
                </c:pt>
                <c:pt idx="22">
                  <c:v>445</c:v>
                </c:pt>
                <c:pt idx="23">
                  <c:v>451</c:v>
                </c:pt>
                <c:pt idx="24">
                  <c:v>458</c:v>
                </c:pt>
                <c:pt idx="25">
                  <c:v>469</c:v>
                </c:pt>
                <c:pt idx="26">
                  <c:v>483</c:v>
                </c:pt>
                <c:pt idx="27">
                  <c:v>492</c:v>
                </c:pt>
                <c:pt idx="28">
                  <c:v>499</c:v>
                </c:pt>
                <c:pt idx="29">
                  <c:v>507</c:v>
                </c:pt>
                <c:pt idx="30">
                  <c:v>520</c:v>
                </c:pt>
                <c:pt idx="31">
                  <c:v>525</c:v>
                </c:pt>
                <c:pt idx="32">
                  <c:v>539</c:v>
                </c:pt>
                <c:pt idx="33">
                  <c:v>544</c:v>
                </c:pt>
                <c:pt idx="34">
                  <c:v>552</c:v>
                </c:pt>
                <c:pt idx="35">
                  <c:v>560</c:v>
                </c:pt>
                <c:pt idx="36">
                  <c:v>566</c:v>
                </c:pt>
                <c:pt idx="37">
                  <c:v>568</c:v>
                </c:pt>
                <c:pt idx="38">
                  <c:v>572</c:v>
                </c:pt>
                <c:pt idx="39">
                  <c:v>577</c:v>
                </c:pt>
                <c:pt idx="40">
                  <c:v>581</c:v>
                </c:pt>
                <c:pt idx="41">
                  <c:v>589</c:v>
                </c:pt>
                <c:pt idx="42">
                  <c:v>598</c:v>
                </c:pt>
                <c:pt idx="43">
                  <c:v>601</c:v>
                </c:pt>
                <c:pt idx="44">
                  <c:v>602</c:v>
                </c:pt>
                <c:pt idx="45">
                  <c:v>605</c:v>
                </c:pt>
                <c:pt idx="46">
                  <c:v>610</c:v>
                </c:pt>
                <c:pt idx="47">
                  <c:v>612</c:v>
                </c:pt>
                <c:pt idx="48">
                  <c:v>613</c:v>
                </c:pt>
                <c:pt idx="49">
                  <c:v>617</c:v>
                </c:pt>
                <c:pt idx="50">
                  <c:v>624</c:v>
                </c:pt>
                <c:pt idx="51">
                  <c:v>626</c:v>
                </c:pt>
                <c:pt idx="52">
                  <c:v>629</c:v>
                </c:pt>
                <c:pt idx="53">
                  <c:v>631</c:v>
                </c:pt>
                <c:pt idx="54">
                  <c:v>633</c:v>
                </c:pt>
                <c:pt idx="55">
                  <c:v>637</c:v>
                </c:pt>
                <c:pt idx="56">
                  <c:v>639</c:v>
                </c:pt>
                <c:pt idx="57">
                  <c:v>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64.29894286302641</c:v>
                </c:pt>
                <c:pt idx="27">
                  <c:v>472.32715318472788</c:v>
                </c:pt>
                <c:pt idx="28">
                  <c:v>480.05216642218619</c:v>
                </c:pt>
                <c:pt idx="29">
                  <c:v>487.5026963140657</c:v>
                </c:pt>
                <c:pt idx="30">
                  <c:v>494.69681954236125</c:v>
                </c:pt>
                <c:pt idx="31">
                  <c:v>501.69618489690373</c:v>
                </c:pt>
                <c:pt idx="32">
                  <c:v>508.51473434500792</c:v>
                </c:pt>
                <c:pt idx="33">
                  <c:v>515.1193481083352</c:v>
                </c:pt>
                <c:pt idx="34">
                  <c:v>521.51655189992232</c:v>
                </c:pt>
                <c:pt idx="35">
                  <c:v>527.693324228297</c:v>
                </c:pt>
                <c:pt idx="36">
                  <c:v>533.63301929178965</c:v>
                </c:pt>
                <c:pt idx="37">
                  <c:v>539.3078937004874</c:v>
                </c:pt>
                <c:pt idx="38">
                  <c:v>544.72919069022885</c:v>
                </c:pt>
                <c:pt idx="39">
                  <c:v>549.91039279768779</c:v>
                </c:pt>
                <c:pt idx="40">
                  <c:v>554.85692062228202</c:v>
                </c:pt>
                <c:pt idx="41">
                  <c:v>559.57982300973129</c:v>
                </c:pt>
                <c:pt idx="42">
                  <c:v>564.08609919087883</c:v>
                </c:pt>
                <c:pt idx="43">
                  <c:v>568.38096588857627</c:v>
                </c:pt>
                <c:pt idx="44">
                  <c:v>572.46973699103751</c:v>
                </c:pt>
                <c:pt idx="45">
                  <c:v>576.36714209923412</c:v>
                </c:pt>
                <c:pt idx="46">
                  <c:v>580.08222650196149</c:v>
                </c:pt>
                <c:pt idx="47">
                  <c:v>583.62226111919517</c:v>
                </c:pt>
                <c:pt idx="48">
                  <c:v>586.99767962584122</c:v>
                </c:pt>
                <c:pt idx="49">
                  <c:v>590.21549120520308</c:v>
                </c:pt>
                <c:pt idx="50">
                  <c:v>593.28341569341364</c:v>
                </c:pt>
                <c:pt idx="51">
                  <c:v>596.2084462834207</c:v>
                </c:pt>
                <c:pt idx="52">
                  <c:v>598.99670489054279</c:v>
                </c:pt>
                <c:pt idx="53">
                  <c:v>601.65699582946741</c:v>
                </c:pt>
                <c:pt idx="54">
                  <c:v>604.19674836669401</c:v>
                </c:pt>
                <c:pt idx="55">
                  <c:v>606.61979411661059</c:v>
                </c:pt>
                <c:pt idx="56">
                  <c:v>608.93302540973639</c:v>
                </c:pt>
                <c:pt idx="57">
                  <c:v>611.14149463388696</c:v>
                </c:pt>
                <c:pt idx="58">
                  <c:v>613.24977269042665</c:v>
                </c:pt>
                <c:pt idx="59">
                  <c:v>615.26379059679778</c:v>
                </c:pt>
                <c:pt idx="60">
                  <c:v>617.18804824464337</c:v>
                </c:pt>
                <c:pt idx="61">
                  <c:v>619.02667948279293</c:v>
                </c:pt>
                <c:pt idx="62">
                  <c:v>620.78524157668539</c:v>
                </c:pt>
                <c:pt idx="63">
                  <c:v>622.46636624638734</c:v>
                </c:pt>
                <c:pt idx="64">
                  <c:v>624.07516283244695</c:v>
                </c:pt>
                <c:pt idx="65">
                  <c:v>625.61403233971009</c:v>
                </c:pt>
                <c:pt idx="66">
                  <c:v>627.087885690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64.5043722464107</c:v>
                </c:pt>
                <c:pt idx="27">
                  <c:v>472.89274583514049</c:v>
                </c:pt>
                <c:pt idx="28">
                  <c:v>481.08112221094387</c:v>
                </c:pt>
                <c:pt idx="29">
                  <c:v>489.06638416930872</c:v>
                </c:pt>
                <c:pt idx="30">
                  <c:v>496.88857159956933</c:v>
                </c:pt>
                <c:pt idx="31">
                  <c:v>504.62889206543639</c:v>
                </c:pt>
                <c:pt idx="32">
                  <c:v>512.31445670980338</c:v>
                </c:pt>
                <c:pt idx="33">
                  <c:v>519.92004070313294</c:v>
                </c:pt>
                <c:pt idx="34">
                  <c:v>527.4224666443065</c:v>
                </c:pt>
                <c:pt idx="35">
                  <c:v>534.79375806176768</c:v>
                </c:pt>
                <c:pt idx="36">
                  <c:v>542.01095478918285</c:v>
                </c:pt>
                <c:pt idx="37">
                  <c:v>549.05255123500228</c:v>
                </c:pt>
                <c:pt idx="38">
                  <c:v>555.92698452329546</c:v>
                </c:pt>
                <c:pt idx="39">
                  <c:v>562.6391911122389</c:v>
                </c:pt>
                <c:pt idx="40">
                  <c:v>569.18165447456386</c:v>
                </c:pt>
                <c:pt idx="41">
                  <c:v>575.55414842266168</c:v>
                </c:pt>
                <c:pt idx="42">
                  <c:v>581.76208405372199</c:v>
                </c:pt>
                <c:pt idx="43">
                  <c:v>587.80624181663529</c:v>
                </c:pt>
                <c:pt idx="44">
                  <c:v>593.68585529510096</c:v>
                </c:pt>
                <c:pt idx="45">
                  <c:v>599.40918100223416</c:v>
                </c:pt>
                <c:pt idx="46">
                  <c:v>604.98215446961763</c:v>
                </c:pt>
                <c:pt idx="47">
                  <c:v>610.40639492905257</c:v>
                </c:pt>
                <c:pt idx="48">
                  <c:v>615.68473164227362</c:v>
                </c:pt>
                <c:pt idx="49">
                  <c:v>620.82414518236658</c:v>
                </c:pt>
                <c:pt idx="50">
                  <c:v>625.82615996146069</c:v>
                </c:pt>
                <c:pt idx="51">
                  <c:v>630.6951700135744</c:v>
                </c:pt>
                <c:pt idx="52">
                  <c:v>635.43386729530721</c:v>
                </c:pt>
                <c:pt idx="53">
                  <c:v>640.04757412683421</c:v>
                </c:pt>
                <c:pt idx="54">
                  <c:v>644.5402872361268</c:v>
                </c:pt>
                <c:pt idx="55">
                  <c:v>648.91405808016896</c:v>
                </c:pt>
                <c:pt idx="56">
                  <c:v>653.17284070458493</c:v>
                </c:pt>
                <c:pt idx="57">
                  <c:v>657.32011290669357</c:v>
                </c:pt>
                <c:pt idx="58">
                  <c:v>661.35771122560891</c:v>
                </c:pt>
                <c:pt idx="59">
                  <c:v>665.29021000557054</c:v>
                </c:pt>
                <c:pt idx="60">
                  <c:v>669.11956348957972</c:v>
                </c:pt>
                <c:pt idx="61">
                  <c:v>672.85028274863203</c:v>
                </c:pt>
                <c:pt idx="62">
                  <c:v>676.48426781989406</c:v>
                </c:pt>
                <c:pt idx="63">
                  <c:v>680.02446814080349</c:v>
                </c:pt>
                <c:pt idx="64">
                  <c:v>683.47396553084752</c:v>
                </c:pt>
                <c:pt idx="65">
                  <c:v>686.83431554493313</c:v>
                </c:pt>
                <c:pt idx="66">
                  <c:v>690.10829124876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64.70824534658669</c:v>
                </c:pt>
                <c:pt idx="27">
                  <c:v>473.45645885770267</c:v>
                </c:pt>
                <c:pt idx="28">
                  <c:v>482.10805273539626</c:v>
                </c:pt>
                <c:pt idx="29">
                  <c:v>490.62790506872091</c:v>
                </c:pt>
                <c:pt idx="30">
                  <c:v>499.08734326663193</c:v>
                </c:pt>
                <c:pt idx="31">
                  <c:v>507.59530190867872</c:v>
                </c:pt>
                <c:pt idx="32">
                  <c:v>516.19889863395645</c:v>
                </c:pt>
                <c:pt idx="33">
                  <c:v>524.88323172906382</c:v>
                </c:pt>
                <c:pt idx="34">
                  <c:v>533.59267608125845</c:v>
                </c:pt>
                <c:pt idx="35">
                  <c:v>542.28373718255057</c:v>
                </c:pt>
                <c:pt idx="36">
                  <c:v>550.93778351878154</c:v>
                </c:pt>
                <c:pt idx="37">
                  <c:v>559.54910640346168</c:v>
                </c:pt>
                <c:pt idx="38">
                  <c:v>568.12350155791466</c:v>
                </c:pt>
                <c:pt idx="39">
                  <c:v>576.65733209358518</c:v>
                </c:pt>
                <c:pt idx="40">
                  <c:v>585.13603421442053</c:v>
                </c:pt>
                <c:pt idx="41">
                  <c:v>593.54878733147962</c:v>
                </c:pt>
                <c:pt idx="42">
                  <c:v>601.89760727116663</c:v>
                </c:pt>
                <c:pt idx="43">
                  <c:v>610.18572660952043</c:v>
                </c:pt>
                <c:pt idx="44">
                  <c:v>618.41302851672367</c:v>
                </c:pt>
                <c:pt idx="45">
                  <c:v>626.58029531674413</c:v>
                </c:pt>
                <c:pt idx="46">
                  <c:v>634.68330596145404</c:v>
                </c:pt>
                <c:pt idx="47">
                  <c:v>642.7204187522035</c:v>
                </c:pt>
                <c:pt idx="48">
                  <c:v>650.69534058337604</c:v>
                </c:pt>
                <c:pt idx="49">
                  <c:v>658.60921147295846</c:v>
                </c:pt>
                <c:pt idx="50">
                  <c:v>666.46292756632511</c:v>
                </c:pt>
                <c:pt idx="51">
                  <c:v>674.25490899819147</c:v>
                </c:pt>
                <c:pt idx="52">
                  <c:v>681.98548864686632</c:v>
                </c:pt>
                <c:pt idx="53">
                  <c:v>689.65530065550786</c:v>
                </c:pt>
                <c:pt idx="54">
                  <c:v>697.26484192296471</c:v>
                </c:pt>
                <c:pt idx="55">
                  <c:v>704.81746039412099</c:v>
                </c:pt>
                <c:pt idx="56">
                  <c:v>712.31168450640234</c:v>
                </c:pt>
                <c:pt idx="57">
                  <c:v>719.74746994788211</c:v>
                </c:pt>
                <c:pt idx="58">
                  <c:v>727.12656897623856</c:v>
                </c:pt>
                <c:pt idx="59">
                  <c:v>734.44639156175322</c:v>
                </c:pt>
                <c:pt idx="60">
                  <c:v>741.70973797880424</c:v>
                </c:pt>
                <c:pt idx="61">
                  <c:v>748.91729639532809</c:v>
                </c:pt>
                <c:pt idx="62">
                  <c:v>756.06935239277482</c:v>
                </c:pt>
                <c:pt idx="63">
                  <c:v>763.16612763022692</c:v>
                </c:pt>
                <c:pt idx="64">
                  <c:v>770.20784101902484</c:v>
                </c:pt>
                <c:pt idx="65">
                  <c:v>777.19621539388163</c:v>
                </c:pt>
                <c:pt idx="66">
                  <c:v>784.13019817261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65.01483313845478</c:v>
                </c:pt>
                <c:pt idx="27">
                  <c:v>474.30452448867857</c:v>
                </c:pt>
                <c:pt idx="28">
                  <c:v>483.65211892368063</c:v>
                </c:pt>
                <c:pt idx="29">
                  <c:v>492.97423497398347</c:v>
                </c:pt>
                <c:pt idx="30">
                  <c:v>502.41084922320363</c:v>
                </c:pt>
                <c:pt idx="31">
                  <c:v>512.12551023290507</c:v>
                </c:pt>
                <c:pt idx="32">
                  <c:v>522.20376173912507</c:v>
                </c:pt>
                <c:pt idx="33">
                  <c:v>532.65452390875362</c:v>
                </c:pt>
                <c:pt idx="34">
                  <c:v>543.36913409075532</c:v>
                </c:pt>
                <c:pt idx="35">
                  <c:v>554.28984481556392</c:v>
                </c:pt>
                <c:pt idx="36">
                  <c:v>565.41611734799562</c:v>
                </c:pt>
                <c:pt idx="37">
                  <c:v>576.78658074568102</c:v>
                </c:pt>
                <c:pt idx="38">
                  <c:v>588.4185390322989</c:v>
                </c:pt>
                <c:pt idx="39">
                  <c:v>600.29952678075381</c:v>
                </c:pt>
                <c:pt idx="40">
                  <c:v>612.40163802646009</c:v>
                </c:pt>
                <c:pt idx="41">
                  <c:v>624.70945402982545</c:v>
                </c:pt>
                <c:pt idx="42">
                  <c:v>637.24057762306779</c:v>
                </c:pt>
                <c:pt idx="43">
                  <c:v>650.01441391704475</c:v>
                </c:pt>
                <c:pt idx="44">
                  <c:v>663.03848452864293</c:v>
                </c:pt>
                <c:pt idx="45">
                  <c:v>676.30700524247163</c:v>
                </c:pt>
                <c:pt idx="46">
                  <c:v>689.81311797106252</c:v>
                </c:pt>
                <c:pt idx="47">
                  <c:v>703.55577677027463</c:v>
                </c:pt>
                <c:pt idx="48">
                  <c:v>717.54888292224246</c:v>
                </c:pt>
                <c:pt idx="49">
                  <c:v>731.80579825836753</c:v>
                </c:pt>
                <c:pt idx="50">
                  <c:v>746.32958230509541</c:v>
                </c:pt>
                <c:pt idx="51">
                  <c:v>761.11895864180804</c:v>
                </c:pt>
                <c:pt idx="52">
                  <c:v>776.1724987864568</c:v>
                </c:pt>
                <c:pt idx="53">
                  <c:v>791.4963850470125</c:v>
                </c:pt>
                <c:pt idx="54">
                  <c:v>807.09953397798654</c:v>
                </c:pt>
                <c:pt idx="55">
                  <c:v>822.99124667364049</c:v>
                </c:pt>
                <c:pt idx="56">
                  <c:v>839.17412894465929</c:v>
                </c:pt>
                <c:pt idx="57">
                  <c:v>855.65028791674217</c:v>
                </c:pt>
                <c:pt idx="58">
                  <c:v>872.42324917189399</c:v>
                </c:pt>
                <c:pt idx="59">
                  <c:v>889.49985128182925</c:v>
                </c:pt>
                <c:pt idx="60">
                  <c:v>906.88610768866397</c:v>
                </c:pt>
                <c:pt idx="61">
                  <c:v>924.58793780800988</c:v>
                </c:pt>
                <c:pt idx="62">
                  <c:v>942.61126525751706</c:v>
                </c:pt>
                <c:pt idx="63">
                  <c:v>960.96046866868403</c:v>
                </c:pt>
                <c:pt idx="64">
                  <c:v>979.64121400360261</c:v>
                </c:pt>
                <c:pt idx="65">
                  <c:v>998.65943437675446</c:v>
                </c:pt>
                <c:pt idx="66">
                  <c:v>1018.0211530917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4</c:v>
                </c:pt>
                <c:pt idx="1">
                  <c:v>146</c:v>
                </c:pt>
                <c:pt idx="2">
                  <c:v>200</c:v>
                </c:pt>
                <c:pt idx="3">
                  <c:v>251</c:v>
                </c:pt>
                <c:pt idx="4">
                  <c:v>302</c:v>
                </c:pt>
                <c:pt idx="5">
                  <c:v>379</c:v>
                </c:pt>
                <c:pt idx="6">
                  <c:v>447</c:v>
                </c:pt>
                <c:pt idx="7">
                  <c:v>513</c:v>
                </c:pt>
                <c:pt idx="8">
                  <c:v>561</c:v>
                </c:pt>
                <c:pt idx="9">
                  <c:v>592</c:v>
                </c:pt>
                <c:pt idx="10">
                  <c:v>628</c:v>
                </c:pt>
                <c:pt idx="11">
                  <c:v>684</c:v>
                </c:pt>
                <c:pt idx="12">
                  <c:v>725</c:v>
                </c:pt>
                <c:pt idx="13">
                  <c:v>763</c:v>
                </c:pt>
                <c:pt idx="14">
                  <c:v>799</c:v>
                </c:pt>
                <c:pt idx="15">
                  <c:v>837</c:v>
                </c:pt>
                <c:pt idx="16">
                  <c:v>872</c:v>
                </c:pt>
                <c:pt idx="17">
                  <c:v>899</c:v>
                </c:pt>
                <c:pt idx="18">
                  <c:v>961</c:v>
                </c:pt>
                <c:pt idx="19">
                  <c:v>994</c:v>
                </c:pt>
                <c:pt idx="20">
                  <c:v>1046</c:v>
                </c:pt>
                <c:pt idx="21">
                  <c:v>1078</c:v>
                </c:pt>
                <c:pt idx="22">
                  <c:v>1114</c:v>
                </c:pt>
                <c:pt idx="23">
                  <c:v>1133</c:v>
                </c:pt>
                <c:pt idx="24">
                  <c:v>1151</c:v>
                </c:pt>
                <c:pt idx="25">
                  <c:v>1191</c:v>
                </c:pt>
                <c:pt idx="26">
                  <c:v>1224</c:v>
                </c:pt>
                <c:pt idx="27">
                  <c:v>1262</c:v>
                </c:pt>
                <c:pt idx="28">
                  <c:v>1298</c:v>
                </c:pt>
                <c:pt idx="29">
                  <c:v>1327</c:v>
                </c:pt>
                <c:pt idx="30">
                  <c:v>1338</c:v>
                </c:pt>
                <c:pt idx="31">
                  <c:v>1362</c:v>
                </c:pt>
                <c:pt idx="32">
                  <c:v>1385</c:v>
                </c:pt>
                <c:pt idx="33">
                  <c:v>1408</c:v>
                </c:pt>
                <c:pt idx="34">
                  <c:v>1446</c:v>
                </c:pt>
                <c:pt idx="35">
                  <c:v>1472</c:v>
                </c:pt>
                <c:pt idx="36">
                  <c:v>1503</c:v>
                </c:pt>
                <c:pt idx="37">
                  <c:v>1516</c:v>
                </c:pt>
                <c:pt idx="38">
                  <c:v>1534</c:v>
                </c:pt>
                <c:pt idx="39">
                  <c:v>1559</c:v>
                </c:pt>
                <c:pt idx="40">
                  <c:v>1592</c:v>
                </c:pt>
                <c:pt idx="41">
                  <c:v>1613</c:v>
                </c:pt>
                <c:pt idx="42">
                  <c:v>1626</c:v>
                </c:pt>
                <c:pt idx="43">
                  <c:v>1646</c:v>
                </c:pt>
                <c:pt idx="44">
                  <c:v>1662</c:v>
                </c:pt>
                <c:pt idx="45">
                  <c:v>1674</c:v>
                </c:pt>
                <c:pt idx="46">
                  <c:v>1688</c:v>
                </c:pt>
                <c:pt idx="47">
                  <c:v>1699</c:v>
                </c:pt>
                <c:pt idx="48">
                  <c:v>1708</c:v>
                </c:pt>
                <c:pt idx="49">
                  <c:v>1717</c:v>
                </c:pt>
                <c:pt idx="50">
                  <c:v>1726</c:v>
                </c:pt>
                <c:pt idx="51">
                  <c:v>1734</c:v>
                </c:pt>
                <c:pt idx="52">
                  <c:v>1737</c:v>
                </c:pt>
                <c:pt idx="53">
                  <c:v>1747</c:v>
                </c:pt>
                <c:pt idx="54">
                  <c:v>1756</c:v>
                </c:pt>
                <c:pt idx="55">
                  <c:v>1764</c:v>
                </c:pt>
                <c:pt idx="56">
                  <c:v>1770</c:v>
                </c:pt>
                <c:pt idx="57">
                  <c:v>17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16.8112082694636</c:v>
                </c:pt>
                <c:pt idx="27">
                  <c:v>1241.7852206527014</c:v>
                </c:pt>
                <c:pt idx="28">
                  <c:v>1265.8149207280599</c:v>
                </c:pt>
                <c:pt idx="29">
                  <c:v>1288.989102689952</c:v>
                </c:pt>
                <c:pt idx="30">
                  <c:v>1311.368484525445</c:v>
                </c:pt>
                <c:pt idx="31">
                  <c:v>1333.1471996581006</c:v>
                </c:pt>
                <c:pt idx="32">
                  <c:v>1354.3710645551769</c:v>
                </c:pt>
                <c:pt idx="33">
                  <c:v>1374.9368364543204</c:v>
                </c:pt>
                <c:pt idx="34">
                  <c:v>1394.8623586681713</c:v>
                </c:pt>
                <c:pt idx="35">
                  <c:v>1414.1040753315183</c:v>
                </c:pt>
                <c:pt idx="36">
                  <c:v>1432.6083676283954</c:v>
                </c:pt>
                <c:pt idx="37">
                  <c:v>1450.2886384634739</c:v>
                </c:pt>
                <c:pt idx="38">
                  <c:v>1467.179606094242</c:v>
                </c:pt>
                <c:pt idx="39">
                  <c:v>1483.3231201503522</c:v>
                </c:pt>
                <c:pt idx="40">
                  <c:v>1498.7357108335057</c:v>
                </c:pt>
                <c:pt idx="41">
                  <c:v>1513.4516467040885</c:v>
                </c:pt>
                <c:pt idx="42">
                  <c:v>1527.4927036369972</c:v>
                </c:pt>
                <c:pt idx="43">
                  <c:v>1540.875113811667</c:v>
                </c:pt>
                <c:pt idx="44">
                  <c:v>1553.6153327321335</c:v>
                </c:pt>
                <c:pt idx="45">
                  <c:v>1565.7594115376855</c:v>
                </c:pt>
                <c:pt idx="46">
                  <c:v>1577.3357146285132</c:v>
                </c:pt>
                <c:pt idx="47">
                  <c:v>1588.3665696859862</c:v>
                </c:pt>
                <c:pt idx="48">
                  <c:v>1598.8844067759765</c:v>
                </c:pt>
                <c:pt idx="49">
                  <c:v>1608.911157112537</c:v>
                </c:pt>
                <c:pt idx="50">
                  <c:v>1618.4707140198898</c:v>
                </c:pt>
                <c:pt idx="51">
                  <c:v>1627.5849434922638</c:v>
                </c:pt>
                <c:pt idx="52">
                  <c:v>1636.2730727367384</c:v>
                </c:pt>
                <c:pt idx="53">
                  <c:v>1644.5625146502612</c:v>
                </c:pt>
                <c:pt idx="54">
                  <c:v>1652.476264010023</c:v>
                </c:pt>
                <c:pt idx="55">
                  <c:v>1660.0263897018599</c:v>
                </c:pt>
                <c:pt idx="56">
                  <c:v>1667.2342861066877</c:v>
                </c:pt>
                <c:pt idx="57">
                  <c:v>1674.115694920195</c:v>
                </c:pt>
                <c:pt idx="58">
                  <c:v>1680.6848818863309</c:v>
                </c:pt>
                <c:pt idx="59">
                  <c:v>1686.9603068185293</c:v>
                </c:pt>
                <c:pt idx="60">
                  <c:v>1692.9559982656467</c:v>
                </c:pt>
                <c:pt idx="61">
                  <c:v>1698.6848508765925</c:v>
                </c:pt>
                <c:pt idx="62">
                  <c:v>1704.1641506641258</c:v>
                </c:pt>
                <c:pt idx="63">
                  <c:v>1709.4021358791615</c:v>
                </c:pt>
                <c:pt idx="64">
                  <c:v>1714.4146990452973</c:v>
                </c:pt>
                <c:pt idx="65">
                  <c:v>1719.2093542103328</c:v>
                </c:pt>
                <c:pt idx="66">
                  <c:v>1723.8013719115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17.4460657255283</c:v>
                </c:pt>
                <c:pt idx="27">
                  <c:v>1243.5331826251843</c:v>
                </c:pt>
                <c:pt idx="28">
                  <c:v>1268.9955605602963</c:v>
                </c:pt>
                <c:pt idx="29">
                  <c:v>1293.8240509074512</c:v>
                </c:pt>
                <c:pt idx="30">
                  <c:v>1318.1477057182169</c:v>
                </c:pt>
                <c:pt idx="31">
                  <c:v>1342.2216399244874</c:v>
                </c:pt>
                <c:pt idx="32">
                  <c:v>1366.1327797532483</c:v>
                </c:pt>
                <c:pt idx="33">
                  <c:v>1389.8025595181557</c:v>
                </c:pt>
                <c:pt idx="34">
                  <c:v>1413.1570607835245</c:v>
                </c:pt>
                <c:pt idx="35">
                  <c:v>1436.1064679882729</c:v>
                </c:pt>
                <c:pt idx="36">
                  <c:v>1458.5774703075799</c:v>
                </c:pt>
                <c:pt idx="37">
                  <c:v>1480.5025818310776</c:v>
                </c:pt>
                <c:pt idx="38">
                  <c:v>1501.9077437861342</c:v>
                </c:pt>
                <c:pt idx="39">
                  <c:v>1522.8082705761683</c:v>
                </c:pt>
                <c:pt idx="40">
                  <c:v>1543.1805648911518</c:v>
                </c:pt>
                <c:pt idx="41">
                  <c:v>1563.0238659954666</c:v>
                </c:pt>
                <c:pt idx="42">
                  <c:v>1582.3548808386204</c:v>
                </c:pt>
                <c:pt idx="43">
                  <c:v>1601.1759517233606</c:v>
                </c:pt>
                <c:pt idx="44">
                  <c:v>1619.4846148870001</c:v>
                </c:pt>
                <c:pt idx="45">
                  <c:v>1637.3067780568244</c:v>
                </c:pt>
                <c:pt idx="46">
                  <c:v>1654.661061915705</c:v>
                </c:pt>
                <c:pt idx="47">
                  <c:v>1671.5521959746989</c:v>
                </c:pt>
                <c:pt idx="48">
                  <c:v>1687.9889844788745</c:v>
                </c:pt>
                <c:pt idx="49">
                  <c:v>1703.9931518648602</c:v>
                </c:pt>
                <c:pt idx="50">
                  <c:v>1719.5693430956601</c:v>
                </c:pt>
                <c:pt idx="51">
                  <c:v>1734.7313010101002</c:v>
                </c:pt>
                <c:pt idx="52">
                  <c:v>1749.4875632772823</c:v>
                </c:pt>
                <c:pt idx="53">
                  <c:v>1763.8546982696648</c:v>
                </c:pt>
                <c:pt idx="54">
                  <c:v>1777.8450181419544</c:v>
                </c:pt>
                <c:pt idx="55">
                  <c:v>1791.4650027307666</c:v>
                </c:pt>
                <c:pt idx="56">
                  <c:v>1804.7268955465856</c:v>
                </c:pt>
                <c:pt idx="57">
                  <c:v>1817.6415040948627</c:v>
                </c:pt>
                <c:pt idx="58">
                  <c:v>1830.2145835407996</c:v>
                </c:pt>
                <c:pt idx="59">
                  <c:v>1842.4603454094317</c:v>
                </c:pt>
                <c:pt idx="60">
                  <c:v>1854.384898427913</c:v>
                </c:pt>
                <c:pt idx="61">
                  <c:v>1866.002256194573</c:v>
                </c:pt>
                <c:pt idx="62">
                  <c:v>1877.3183571080499</c:v>
                </c:pt>
                <c:pt idx="63">
                  <c:v>1888.3423860067408</c:v>
                </c:pt>
                <c:pt idx="64">
                  <c:v>1899.083931711991</c:v>
                </c:pt>
                <c:pt idx="65">
                  <c:v>1909.5478658999243</c:v>
                </c:pt>
                <c:pt idx="66">
                  <c:v>1919.7428225598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18.0761136554081</c:v>
                </c:pt>
                <c:pt idx="27">
                  <c:v>1245.2753353656083</c:v>
                </c:pt>
                <c:pt idx="28">
                  <c:v>1272.1699364407814</c:v>
                </c:pt>
                <c:pt idx="29">
                  <c:v>1298.6522918309183</c:v>
                </c:pt>
                <c:pt idx="30">
                  <c:v>1324.948602523277</c:v>
                </c:pt>
                <c:pt idx="31">
                  <c:v>1351.4002102552065</c:v>
                </c:pt>
                <c:pt idx="32">
                  <c:v>1378.1563127172676</c:v>
                </c:pt>
                <c:pt idx="33">
                  <c:v>1405.1705785552465</c:v>
                </c:pt>
                <c:pt idx="34">
                  <c:v>1432.2689261883411</c:v>
                </c:pt>
                <c:pt idx="35">
                  <c:v>1459.3136401432353</c:v>
                </c:pt>
                <c:pt idx="36">
                  <c:v>1486.2447102757974</c:v>
                </c:pt>
                <c:pt idx="37">
                  <c:v>1513.0434043046218</c:v>
                </c:pt>
                <c:pt idx="38">
                  <c:v>1539.7275034707827</c:v>
                </c:pt>
                <c:pt idx="39">
                  <c:v>1566.2858029781537</c:v>
                </c:pt>
                <c:pt idx="40">
                  <c:v>1592.6728562987471</c:v>
                </c:pt>
                <c:pt idx="41">
                  <c:v>1618.8550483156628</c:v>
                </c:pt>
                <c:pt idx="42">
                  <c:v>1644.8385136083643</c:v>
                </c:pt>
                <c:pt idx="43">
                  <c:v>1670.6330627954594</c:v>
                </c:pt>
                <c:pt idx="44">
                  <c:v>1696.2381658337049</c:v>
                </c:pt>
                <c:pt idx="45">
                  <c:v>1721.6565539315741</c:v>
                </c:pt>
                <c:pt idx="46">
                  <c:v>1746.8753828138833</c:v>
                </c:pt>
                <c:pt idx="47">
                  <c:v>1771.8892109246569</c:v>
                </c:pt>
                <c:pt idx="48">
                  <c:v>1796.7094526602978</c:v>
                </c:pt>
                <c:pt idx="49">
                  <c:v>1821.3396946114767</c:v>
                </c:pt>
                <c:pt idx="50">
                  <c:v>1845.7825734370101</c:v>
                </c:pt>
                <c:pt idx="51">
                  <c:v>1870.0332845917665</c:v>
                </c:pt>
                <c:pt idx="52">
                  <c:v>1894.0930051030332</c:v>
                </c:pt>
                <c:pt idx="53">
                  <c:v>1917.9637374507333</c:v>
                </c:pt>
                <c:pt idx="54">
                  <c:v>1941.6469093431642</c:v>
                </c:pt>
                <c:pt idx="55">
                  <c:v>1965.1529270027986</c:v>
                </c:pt>
                <c:pt idx="56">
                  <c:v>1988.4771978805175</c:v>
                </c:pt>
                <c:pt idx="57">
                  <c:v>2011.6195863370308</c:v>
                </c:pt>
                <c:pt idx="58">
                  <c:v>2034.5855191466826</c:v>
                </c:pt>
                <c:pt idx="59">
                  <c:v>2057.3670039178496</c:v>
                </c:pt>
                <c:pt idx="60">
                  <c:v>2079.9727105846432</c:v>
                </c:pt>
                <c:pt idx="61">
                  <c:v>2102.4047718928227</c:v>
                </c:pt>
                <c:pt idx="62">
                  <c:v>2124.6640828892569</c:v>
                </c:pt>
                <c:pt idx="63">
                  <c:v>2146.7513407724687</c:v>
                </c:pt>
                <c:pt idx="64">
                  <c:v>2168.6672315554551</c:v>
                </c:pt>
                <c:pt idx="65">
                  <c:v>2190.417090081356</c:v>
                </c:pt>
                <c:pt idx="66">
                  <c:v>2211.9976723366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19.02359031332</c:v>
                </c:pt>
                <c:pt idx="27">
                  <c:v>1247.8962786184561</c:v>
                </c:pt>
                <c:pt idx="28">
                  <c:v>1276.9428462325318</c:v>
                </c:pt>
                <c:pt idx="29">
                  <c:v>1305.9071754309111</c:v>
                </c:pt>
                <c:pt idx="30">
                  <c:v>1335.2283063766342</c:v>
                </c:pt>
                <c:pt idx="31">
                  <c:v>1365.4171740502313</c:v>
                </c:pt>
                <c:pt idx="32">
                  <c:v>1396.742458208284</c:v>
                </c:pt>
                <c:pt idx="33">
                  <c:v>1429.2320427047919</c:v>
                </c:pt>
                <c:pt idx="34">
                  <c:v>1462.5482486196443</c:v>
                </c:pt>
                <c:pt idx="35">
                  <c:v>1496.5095905459902</c:v>
                </c:pt>
                <c:pt idx="36">
                  <c:v>1531.1120504613289</c:v>
                </c:pt>
                <c:pt idx="37">
                  <c:v>1566.4740362902</c:v>
                </c:pt>
                <c:pt idx="38">
                  <c:v>1602.6491105712234</c:v>
                </c:pt>
                <c:pt idx="39">
                  <c:v>1639.5989658947315</c:v>
                </c:pt>
                <c:pt idx="40">
                  <c:v>1677.2370363912787</c:v>
                </c:pt>
                <c:pt idx="41">
                  <c:v>1715.5155304117363</c:v>
                </c:pt>
                <c:pt idx="42">
                  <c:v>1754.4888351844631</c:v>
                </c:pt>
                <c:pt idx="43">
                  <c:v>1794.2167939118317</c:v>
                </c:pt>
                <c:pt idx="44">
                  <c:v>1834.7226056796412</c:v>
                </c:pt>
                <c:pt idx="45">
                  <c:v>1875.9888082780899</c:v>
                </c:pt>
                <c:pt idx="46">
                  <c:v>1917.9944976324393</c:v>
                </c:pt>
                <c:pt idx="47">
                  <c:v>1960.7361340359453</c:v>
                </c:pt>
                <c:pt idx="48">
                  <c:v>2004.2566979189589</c:v>
                </c:pt>
                <c:pt idx="49">
                  <c:v>2048.5976158656035</c:v>
                </c:pt>
                <c:pt idx="50">
                  <c:v>2093.7683083255865</c:v>
                </c:pt>
                <c:pt idx="51">
                  <c:v>2139.7650006046097</c:v>
                </c:pt>
                <c:pt idx="52">
                  <c:v>2186.5835091866288</c:v>
                </c:pt>
                <c:pt idx="53">
                  <c:v>2234.2430640968023</c:v>
                </c:pt>
                <c:pt idx="54">
                  <c:v>2282.7711987902567</c:v>
                </c:pt>
                <c:pt idx="55">
                  <c:v>2332.1967920912452</c:v>
                </c:pt>
                <c:pt idx="56">
                  <c:v>2382.5279493441667</c:v>
                </c:pt>
                <c:pt idx="57">
                  <c:v>2433.7712704810301</c:v>
                </c:pt>
                <c:pt idx="58">
                  <c:v>2485.9377522843806</c:v>
                </c:pt>
                <c:pt idx="59">
                  <c:v>2539.0486263586763</c:v>
                </c:pt>
                <c:pt idx="60">
                  <c:v>2593.1225819702354</c:v>
                </c:pt>
                <c:pt idx="61">
                  <c:v>2648.1780233830141</c:v>
                </c:pt>
                <c:pt idx="62">
                  <c:v>2704.2333653905307</c:v>
                </c:pt>
                <c:pt idx="63">
                  <c:v>2761.3022534690826</c:v>
                </c:pt>
                <c:pt idx="64">
                  <c:v>2819.4023119570784</c:v>
                </c:pt>
                <c:pt idx="65">
                  <c:v>2878.5519897939171</c:v>
                </c:pt>
                <c:pt idx="66">
                  <c:v>2938.7700177439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0</c:v>
                </c:pt>
                <c:pt idx="1">
                  <c:v>58</c:v>
                </c:pt>
                <c:pt idx="2">
                  <c:v>82</c:v>
                </c:pt>
                <c:pt idx="3">
                  <c:v>113</c:v>
                </c:pt>
                <c:pt idx="4">
                  <c:v>135</c:v>
                </c:pt>
                <c:pt idx="5">
                  <c:v>165</c:v>
                </c:pt>
                <c:pt idx="6">
                  <c:v>196</c:v>
                </c:pt>
                <c:pt idx="7">
                  <c:v>217</c:v>
                </c:pt>
                <c:pt idx="8">
                  <c:v>256</c:v>
                </c:pt>
                <c:pt idx="9">
                  <c:v>273</c:v>
                </c:pt>
                <c:pt idx="10">
                  <c:v>306</c:v>
                </c:pt>
                <c:pt idx="11">
                  <c:v>338</c:v>
                </c:pt>
                <c:pt idx="12">
                  <c:v>367</c:v>
                </c:pt>
                <c:pt idx="13">
                  <c:v>400</c:v>
                </c:pt>
                <c:pt idx="14">
                  <c:v>424</c:v>
                </c:pt>
                <c:pt idx="15">
                  <c:v>449</c:v>
                </c:pt>
                <c:pt idx="16">
                  <c:v>465</c:v>
                </c:pt>
                <c:pt idx="17">
                  <c:v>486</c:v>
                </c:pt>
                <c:pt idx="18">
                  <c:v>506</c:v>
                </c:pt>
                <c:pt idx="19">
                  <c:v>526</c:v>
                </c:pt>
                <c:pt idx="20">
                  <c:v>559</c:v>
                </c:pt>
                <c:pt idx="21">
                  <c:v>577</c:v>
                </c:pt>
                <c:pt idx="22">
                  <c:v>597</c:v>
                </c:pt>
                <c:pt idx="23">
                  <c:v>608</c:v>
                </c:pt>
                <c:pt idx="24">
                  <c:v>621</c:v>
                </c:pt>
                <c:pt idx="25">
                  <c:v>638</c:v>
                </c:pt>
                <c:pt idx="26">
                  <c:v>658</c:v>
                </c:pt>
                <c:pt idx="27">
                  <c:v>668</c:v>
                </c:pt>
                <c:pt idx="28">
                  <c:v>687</c:v>
                </c:pt>
                <c:pt idx="29">
                  <c:v>700</c:v>
                </c:pt>
                <c:pt idx="30">
                  <c:v>709</c:v>
                </c:pt>
                <c:pt idx="31">
                  <c:v>723</c:v>
                </c:pt>
                <c:pt idx="32">
                  <c:v>742</c:v>
                </c:pt>
                <c:pt idx="33">
                  <c:v>757</c:v>
                </c:pt>
                <c:pt idx="34">
                  <c:v>769</c:v>
                </c:pt>
                <c:pt idx="35">
                  <c:v>783</c:v>
                </c:pt>
                <c:pt idx="36">
                  <c:v>793</c:v>
                </c:pt>
                <c:pt idx="37">
                  <c:v>798</c:v>
                </c:pt>
                <c:pt idx="38">
                  <c:v>807</c:v>
                </c:pt>
                <c:pt idx="39">
                  <c:v>813</c:v>
                </c:pt>
                <c:pt idx="40">
                  <c:v>830</c:v>
                </c:pt>
                <c:pt idx="41">
                  <c:v>844</c:v>
                </c:pt>
                <c:pt idx="42">
                  <c:v>853</c:v>
                </c:pt>
                <c:pt idx="43">
                  <c:v>859</c:v>
                </c:pt>
                <c:pt idx="44">
                  <c:v>865</c:v>
                </c:pt>
                <c:pt idx="45">
                  <c:v>870</c:v>
                </c:pt>
                <c:pt idx="46">
                  <c:v>876</c:v>
                </c:pt>
                <c:pt idx="47">
                  <c:v>881</c:v>
                </c:pt>
                <c:pt idx="48">
                  <c:v>884</c:v>
                </c:pt>
                <c:pt idx="49">
                  <c:v>887</c:v>
                </c:pt>
                <c:pt idx="50">
                  <c:v>889</c:v>
                </c:pt>
                <c:pt idx="51">
                  <c:v>892</c:v>
                </c:pt>
                <c:pt idx="52">
                  <c:v>893</c:v>
                </c:pt>
                <c:pt idx="53">
                  <c:v>895</c:v>
                </c:pt>
                <c:pt idx="54">
                  <c:v>898</c:v>
                </c:pt>
                <c:pt idx="55">
                  <c:v>903</c:v>
                </c:pt>
                <c:pt idx="56">
                  <c:v>904</c:v>
                </c:pt>
                <c:pt idx="57">
                  <c:v>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53.00084064471253</c:v>
                </c:pt>
                <c:pt idx="27">
                  <c:v>667.50422748484107</c:v>
                </c:pt>
                <c:pt idx="28">
                  <c:v>681.46176841530382</c:v>
                </c:pt>
                <c:pt idx="29">
                  <c:v>694.92622029473421</c:v>
                </c:pt>
                <c:pt idx="30">
                  <c:v>707.92273009023052</c:v>
                </c:pt>
                <c:pt idx="31">
                  <c:v>720.55872265911876</c:v>
                </c:pt>
                <c:pt idx="32">
                  <c:v>732.85528967327014</c:v>
                </c:pt>
                <c:pt idx="33">
                  <c:v>744.75295737217129</c:v>
                </c:pt>
                <c:pt idx="34">
                  <c:v>756.26762796653429</c:v>
                </c:pt>
                <c:pt idx="35">
                  <c:v>767.38088189142229</c:v>
                </c:pt>
                <c:pt idx="36">
                  <c:v>778.06572377037469</c:v>
                </c:pt>
                <c:pt idx="37">
                  <c:v>788.27252501341911</c:v>
                </c:pt>
                <c:pt idx="38">
                  <c:v>798.02202739431891</c:v>
                </c:pt>
                <c:pt idx="39">
                  <c:v>807.33874119332575</c:v>
                </c:pt>
                <c:pt idx="40">
                  <c:v>816.23301502271738</c:v>
                </c:pt>
                <c:pt idx="41">
                  <c:v>824.72497996171603</c:v>
                </c:pt>
                <c:pt idx="42">
                  <c:v>832.82727581452673</c:v>
                </c:pt>
                <c:pt idx="43">
                  <c:v>840.54932001657767</c:v>
                </c:pt>
                <c:pt idx="44">
                  <c:v>847.90083769368471</c:v>
                </c:pt>
                <c:pt idx="45">
                  <c:v>854.9080526381739</c:v>
                </c:pt>
                <c:pt idx="46">
                  <c:v>861.58692646734187</c:v>
                </c:pt>
                <c:pt idx="47">
                  <c:v>867.95108095534465</c:v>
                </c:pt>
                <c:pt idx="48">
                  <c:v>874.01940999500357</c:v>
                </c:pt>
                <c:pt idx="49">
                  <c:v>879.80436313142945</c:v>
                </c:pt>
                <c:pt idx="50">
                  <c:v>885.32008991350926</c:v>
                </c:pt>
                <c:pt idx="51">
                  <c:v>890.57903691142837</c:v>
                </c:pt>
                <c:pt idx="52">
                  <c:v>895.59195686592261</c:v>
                </c:pt>
                <c:pt idx="53">
                  <c:v>900.37471406315694</c:v>
                </c:pt>
                <c:pt idx="54">
                  <c:v>904.94092416254352</c:v>
                </c:pt>
                <c:pt idx="55">
                  <c:v>909.29725876674866</c:v>
                </c:pt>
                <c:pt idx="56">
                  <c:v>913.45624651280059</c:v>
                </c:pt>
                <c:pt idx="57">
                  <c:v>917.42697325498625</c:v>
                </c:pt>
                <c:pt idx="58">
                  <c:v>921.21761843894967</c:v>
                </c:pt>
                <c:pt idx="59">
                  <c:v>924.83888050326084</c:v>
                </c:pt>
                <c:pt idx="60">
                  <c:v>928.2988378994778</c:v>
                </c:pt>
                <c:pt idx="61">
                  <c:v>931.60489980155671</c:v>
                </c:pt>
                <c:pt idx="62">
                  <c:v>934.76710809558244</c:v>
                </c:pt>
                <c:pt idx="63">
                  <c:v>937.7901308278656</c:v>
                </c:pt>
                <c:pt idx="64">
                  <c:v>940.68320083927233</c:v>
                </c:pt>
                <c:pt idx="65">
                  <c:v>943.45058025655794</c:v>
                </c:pt>
                <c:pt idx="66">
                  <c:v>946.101151421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53.37897231758723</c:v>
                </c:pt>
                <c:pt idx="27">
                  <c:v>668.54520972211321</c:v>
                </c:pt>
                <c:pt idx="28">
                  <c:v>683.35447987564373</c:v>
                </c:pt>
                <c:pt idx="29">
                  <c:v>697.80023337187379</c:v>
                </c:pt>
                <c:pt idx="30">
                  <c:v>711.94727593245693</c:v>
                </c:pt>
                <c:pt idx="31">
                  <c:v>725.93813461858008</c:v>
                </c:pt>
                <c:pt idx="32">
                  <c:v>739.81745195652093</c:v>
                </c:pt>
                <c:pt idx="33">
                  <c:v>753.53981992111835</c:v>
                </c:pt>
                <c:pt idx="34">
                  <c:v>767.06641204325194</c:v>
                </c:pt>
                <c:pt idx="35">
                  <c:v>780.35135316924857</c:v>
                </c:pt>
                <c:pt idx="36">
                  <c:v>793.35632338992821</c:v>
                </c:pt>
                <c:pt idx="37">
                  <c:v>806.04345398796909</c:v>
                </c:pt>
                <c:pt idx="38">
                  <c:v>818.42849742261637</c:v>
                </c:pt>
                <c:pt idx="39">
                  <c:v>830.52044171965986</c:v>
                </c:pt>
                <c:pt idx="40">
                  <c:v>842.30606788676732</c:v>
                </c:pt>
                <c:pt idx="41">
                  <c:v>853.78506292783572</c:v>
                </c:pt>
                <c:pt idx="42">
                  <c:v>864.96741288435385</c:v>
                </c:pt>
                <c:pt idx="43">
                  <c:v>875.85467083082574</c:v>
                </c:pt>
                <c:pt idx="44">
                  <c:v>886.445585478368</c:v>
                </c:pt>
                <c:pt idx="45">
                  <c:v>896.7546984411531</c:v>
                </c:pt>
                <c:pt idx="46">
                  <c:v>906.79247049154151</c:v>
                </c:pt>
                <c:pt idx="47">
                  <c:v>916.56234179222474</c:v>
                </c:pt>
                <c:pt idx="48">
                  <c:v>926.06941848385532</c:v>
                </c:pt>
                <c:pt idx="49">
                  <c:v>935.32629561126942</c:v>
                </c:pt>
                <c:pt idx="50">
                  <c:v>944.33588975799046</c:v>
                </c:pt>
                <c:pt idx="51">
                  <c:v>953.1060151587883</c:v>
                </c:pt>
                <c:pt idx="52">
                  <c:v>961.6412611079445</c:v>
                </c:pt>
                <c:pt idx="53">
                  <c:v>969.95122291187613</c:v>
                </c:pt>
                <c:pt idx="54">
                  <c:v>978.04332310886616</c:v>
                </c:pt>
                <c:pt idx="55">
                  <c:v>985.92110335384348</c:v>
                </c:pt>
                <c:pt idx="56">
                  <c:v>993.59180170705122</c:v>
                </c:pt>
                <c:pt idx="57">
                  <c:v>1001.0617196843575</c:v>
                </c:pt>
                <c:pt idx="58">
                  <c:v>1008.3341046188559</c:v>
                </c:pt>
                <c:pt idx="59">
                  <c:v>1015.4172508815631</c:v>
                </c:pt>
                <c:pt idx="60">
                  <c:v>1022.3146395209969</c:v>
                </c:pt>
                <c:pt idx="61">
                  <c:v>1029.0344524390623</c:v>
                </c:pt>
                <c:pt idx="62">
                  <c:v>1035.5800756147621</c:v>
                </c:pt>
                <c:pt idx="63">
                  <c:v>1041.9568209866238</c:v>
                </c:pt>
                <c:pt idx="64">
                  <c:v>1048.1702527554485</c:v>
                </c:pt>
                <c:pt idx="65">
                  <c:v>1054.2231263933559</c:v>
                </c:pt>
                <c:pt idx="66">
                  <c:v>1060.1204388890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53.754239356575</c:v>
                </c:pt>
                <c:pt idx="27">
                  <c:v>669.58273289177191</c:v>
                </c:pt>
                <c:pt idx="28">
                  <c:v>685.243471975121</c:v>
                </c:pt>
                <c:pt idx="29">
                  <c:v>700.67027541905554</c:v>
                </c:pt>
                <c:pt idx="30">
                  <c:v>715.98477239366207</c:v>
                </c:pt>
                <c:pt idx="31">
                  <c:v>731.3796236392493</c:v>
                </c:pt>
                <c:pt idx="32">
                  <c:v>746.93555484923741</c:v>
                </c:pt>
                <c:pt idx="33">
                  <c:v>762.62560405686315</c:v>
                </c:pt>
                <c:pt idx="34">
                  <c:v>778.35102940853403</c:v>
                </c:pt>
                <c:pt idx="35">
                  <c:v>794.03729658065731</c:v>
                </c:pt>
                <c:pt idx="36">
                  <c:v>809.65418153676296</c:v>
                </c:pt>
                <c:pt idx="37">
                  <c:v>825.19300159585225</c:v>
                </c:pt>
                <c:pt idx="38">
                  <c:v>840.66464221722356</c:v>
                </c:pt>
                <c:pt idx="39">
                  <c:v>856.06235106143004</c:v>
                </c:pt>
                <c:pt idx="40">
                  <c:v>871.36005515292379</c:v>
                </c:pt>
                <c:pt idx="41">
                  <c:v>886.53813055430874</c:v>
                </c:pt>
                <c:pt idx="42">
                  <c:v>901.60044702065261</c:v>
                </c:pt>
                <c:pt idx="43">
                  <c:v>916.55325492638485</c:v>
                </c:pt>
                <c:pt idx="44">
                  <c:v>931.39662215672206</c:v>
                </c:pt>
                <c:pt idx="45">
                  <c:v>946.13146382378125</c:v>
                </c:pt>
                <c:pt idx="46">
                  <c:v>960.74967473973061</c:v>
                </c:pt>
                <c:pt idx="47">
                  <c:v>975.24884926670779</c:v>
                </c:pt>
                <c:pt idx="48">
                  <c:v>989.63587989615326</c:v>
                </c:pt>
                <c:pt idx="49">
                  <c:v>1003.9127587547325</c:v>
                </c:pt>
                <c:pt idx="50">
                  <c:v>1018.0813576749836</c:v>
                </c:pt>
                <c:pt idx="51">
                  <c:v>1032.1386382624173</c:v>
                </c:pt>
                <c:pt idx="52">
                  <c:v>1046.0849649507209</c:v>
                </c:pt>
                <c:pt idx="53">
                  <c:v>1059.9214334632211</c:v>
                </c:pt>
                <c:pt idx="54">
                  <c:v>1073.6491390922627</c:v>
                </c:pt>
                <c:pt idx="55">
                  <c:v>1087.2741443155805</c:v>
                </c:pt>
                <c:pt idx="56">
                  <c:v>1100.7938155208333</c:v>
                </c:pt>
                <c:pt idx="57">
                  <c:v>1114.208068963753</c:v>
                </c:pt>
                <c:pt idx="58">
                  <c:v>1127.5201105684314</c:v>
                </c:pt>
                <c:pt idx="59">
                  <c:v>1140.7251531102117</c:v>
                </c:pt>
                <c:pt idx="60">
                  <c:v>1153.8283242588159</c:v>
                </c:pt>
                <c:pt idx="61">
                  <c:v>1166.830880610951</c:v>
                </c:pt>
                <c:pt idx="62">
                  <c:v>1179.7333269255337</c:v>
                </c:pt>
                <c:pt idx="63">
                  <c:v>1192.536050807772</c:v>
                </c:pt>
                <c:pt idx="64">
                  <c:v>1205.23943931537</c:v>
                </c:pt>
                <c:pt idx="65">
                  <c:v>1217.8466458926068</c:v>
                </c:pt>
                <c:pt idx="66">
                  <c:v>1230.3557181978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54.31857223200007</c:v>
                </c:pt>
                <c:pt idx="27">
                  <c:v>671.14361181395213</c:v>
                </c:pt>
                <c:pt idx="28">
                  <c:v>688.08371118932223</c:v>
                </c:pt>
                <c:pt idx="29">
                  <c:v>704.98277289947339</c:v>
                </c:pt>
                <c:pt idx="30">
                  <c:v>722.08763894547621</c:v>
                </c:pt>
                <c:pt idx="31">
                  <c:v>739.69013362689986</c:v>
                </c:pt>
                <c:pt idx="32">
                  <c:v>757.94049039289746</c:v>
                </c:pt>
                <c:pt idx="33">
                  <c:v>776.85459771028945</c:v>
                </c:pt>
                <c:pt idx="34">
                  <c:v>796.23556995748845</c:v>
                </c:pt>
                <c:pt idx="35">
                  <c:v>815.98217325057908</c:v>
                </c:pt>
                <c:pt idx="36">
                  <c:v>836.09735559533976</c:v>
                </c:pt>
                <c:pt idx="37">
                  <c:v>856.65384680989928</c:v>
                </c:pt>
                <c:pt idx="38">
                  <c:v>877.68335372181195</c:v>
                </c:pt>
                <c:pt idx="39">
                  <c:v>899.16257029831957</c:v>
                </c:pt>
                <c:pt idx="40">
                  <c:v>921.04067525769221</c:v>
                </c:pt>
                <c:pt idx="41">
                  <c:v>943.2895247108579</c:v>
                </c:pt>
                <c:pt idx="42">
                  <c:v>965.9415408219852</c:v>
                </c:pt>
                <c:pt idx="43">
                  <c:v>989.03265367458994</c:v>
                </c:pt>
                <c:pt idx="44">
                  <c:v>1012.5767846799049</c:v>
                </c:pt>
                <c:pt idx="45">
                  <c:v>1036.5625949593375</c:v>
                </c:pt>
                <c:pt idx="46">
                  <c:v>1060.97697519799</c:v>
                </c:pt>
                <c:pt idx="47">
                  <c:v>1085.8185146748201</c:v>
                </c:pt>
                <c:pt idx="48">
                  <c:v>1111.1127678298012</c:v>
                </c:pt>
                <c:pt idx="49">
                  <c:v>1136.8841065050517</c:v>
                </c:pt>
                <c:pt idx="50">
                  <c:v>1163.1382204142833</c:v>
                </c:pt>
                <c:pt idx="51">
                  <c:v>1189.8724755349363</c:v>
                </c:pt>
                <c:pt idx="52">
                  <c:v>1217.0838556384601</c:v>
                </c:pt>
                <c:pt idx="53">
                  <c:v>1244.7835323838558</c:v>
                </c:pt>
                <c:pt idx="54">
                  <c:v>1272.987955544565</c:v>
                </c:pt>
                <c:pt idx="55">
                  <c:v>1301.7140198752254</c:v>
                </c:pt>
                <c:pt idx="56">
                  <c:v>1330.9664341909395</c:v>
                </c:pt>
                <c:pt idx="57">
                  <c:v>1360.7489295793491</c:v>
                </c:pt>
                <c:pt idx="58">
                  <c:v>1391.0678258592297</c:v>
                </c:pt>
                <c:pt idx="59">
                  <c:v>1421.9355470900346</c:v>
                </c:pt>
                <c:pt idx="60">
                  <c:v>1453.3629857390811</c:v>
                </c:pt>
                <c:pt idx="61">
                  <c:v>1485.3608518638687</c:v>
                </c:pt>
                <c:pt idx="62">
                  <c:v>1517.9398673690871</c:v>
                </c:pt>
                <c:pt idx="63">
                  <c:v>1551.1079014521711</c:v>
                </c:pt>
                <c:pt idx="64">
                  <c:v>1584.8751920405712</c:v>
                </c:pt>
                <c:pt idx="65">
                  <c:v>1619.2524704885323</c:v>
                </c:pt>
                <c:pt idx="66">
                  <c:v>1654.2506289619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70</c:v>
                </c:pt>
                <c:pt idx="2">
                  <c:v>98</c:v>
                </c:pt>
                <c:pt idx="3">
                  <c:v>147</c:v>
                </c:pt>
                <c:pt idx="4">
                  <c:v>177</c:v>
                </c:pt>
                <c:pt idx="5">
                  <c:v>203</c:v>
                </c:pt>
                <c:pt idx="6">
                  <c:v>238</c:v>
                </c:pt>
                <c:pt idx="7">
                  <c:v>268</c:v>
                </c:pt>
                <c:pt idx="8">
                  <c:v>308</c:v>
                </c:pt>
                <c:pt idx="9">
                  <c:v>332</c:v>
                </c:pt>
                <c:pt idx="10">
                  <c:v>352</c:v>
                </c:pt>
                <c:pt idx="11">
                  <c:v>375</c:v>
                </c:pt>
                <c:pt idx="12">
                  <c:v>406</c:v>
                </c:pt>
                <c:pt idx="13">
                  <c:v>432</c:v>
                </c:pt>
                <c:pt idx="14">
                  <c:v>472</c:v>
                </c:pt>
                <c:pt idx="15">
                  <c:v>497</c:v>
                </c:pt>
                <c:pt idx="16">
                  <c:v>529</c:v>
                </c:pt>
                <c:pt idx="17">
                  <c:v>553</c:v>
                </c:pt>
                <c:pt idx="18">
                  <c:v>585</c:v>
                </c:pt>
                <c:pt idx="19">
                  <c:v>610</c:v>
                </c:pt>
                <c:pt idx="20">
                  <c:v>644</c:v>
                </c:pt>
                <c:pt idx="21">
                  <c:v>671</c:v>
                </c:pt>
                <c:pt idx="22">
                  <c:v>689</c:v>
                </c:pt>
                <c:pt idx="23">
                  <c:v>709</c:v>
                </c:pt>
                <c:pt idx="24">
                  <c:v>721</c:v>
                </c:pt>
                <c:pt idx="25">
                  <c:v>747</c:v>
                </c:pt>
                <c:pt idx="26">
                  <c:v>774</c:v>
                </c:pt>
                <c:pt idx="27">
                  <c:v>793</c:v>
                </c:pt>
                <c:pt idx="28">
                  <c:v>809</c:v>
                </c:pt>
                <c:pt idx="29">
                  <c:v>827</c:v>
                </c:pt>
                <c:pt idx="30">
                  <c:v>846</c:v>
                </c:pt>
                <c:pt idx="31">
                  <c:v>859</c:v>
                </c:pt>
                <c:pt idx="32">
                  <c:v>880</c:v>
                </c:pt>
                <c:pt idx="33">
                  <c:v>900</c:v>
                </c:pt>
                <c:pt idx="34">
                  <c:v>910</c:v>
                </c:pt>
                <c:pt idx="35">
                  <c:v>925</c:v>
                </c:pt>
                <c:pt idx="36">
                  <c:v>941</c:v>
                </c:pt>
                <c:pt idx="37">
                  <c:v>953</c:v>
                </c:pt>
                <c:pt idx="38">
                  <c:v>966</c:v>
                </c:pt>
                <c:pt idx="39">
                  <c:v>993</c:v>
                </c:pt>
                <c:pt idx="40">
                  <c:v>1004</c:v>
                </c:pt>
                <c:pt idx="41">
                  <c:v>1017</c:v>
                </c:pt>
                <c:pt idx="42">
                  <c:v>1028</c:v>
                </c:pt>
                <c:pt idx="43">
                  <c:v>1040</c:v>
                </c:pt>
                <c:pt idx="44">
                  <c:v>1050</c:v>
                </c:pt>
                <c:pt idx="45">
                  <c:v>1056</c:v>
                </c:pt>
                <c:pt idx="46">
                  <c:v>1067</c:v>
                </c:pt>
                <c:pt idx="47">
                  <c:v>1075</c:v>
                </c:pt>
                <c:pt idx="48">
                  <c:v>1083</c:v>
                </c:pt>
                <c:pt idx="49">
                  <c:v>1088</c:v>
                </c:pt>
                <c:pt idx="50">
                  <c:v>1101</c:v>
                </c:pt>
                <c:pt idx="51">
                  <c:v>1108</c:v>
                </c:pt>
                <c:pt idx="52">
                  <c:v>1109</c:v>
                </c:pt>
                <c:pt idx="53">
                  <c:v>1116</c:v>
                </c:pt>
                <c:pt idx="54">
                  <c:v>1127</c:v>
                </c:pt>
                <c:pt idx="55">
                  <c:v>1137</c:v>
                </c:pt>
                <c:pt idx="56">
                  <c:v>1141</c:v>
                </c:pt>
                <c:pt idx="57">
                  <c:v>1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67.44050018237567</c:v>
                </c:pt>
                <c:pt idx="27">
                  <c:v>788.1634265395852</c:v>
                </c:pt>
                <c:pt idx="28">
                  <c:v>808.10797053846682</c:v>
                </c:pt>
                <c:pt idx="29">
                  <c:v>827.35023135543884</c:v>
                </c:pt>
                <c:pt idx="30">
                  <c:v>845.9200368217704</c:v>
                </c:pt>
                <c:pt idx="31">
                  <c:v>863.96767149211155</c:v>
                </c:pt>
                <c:pt idx="32">
                  <c:v>881.51994365326573</c:v>
                </c:pt>
                <c:pt idx="33">
                  <c:v>898.49216685420993</c:v>
                </c:pt>
                <c:pt idx="34">
                  <c:v>914.91040548601177</c:v>
                </c:pt>
                <c:pt idx="35">
                  <c:v>930.75248945224178</c:v>
                </c:pt>
                <c:pt idx="36">
                  <c:v>945.9823468422104</c:v>
                </c:pt>
                <c:pt idx="37">
                  <c:v>960.52946594984155</c:v>
                </c:pt>
                <c:pt idx="38">
                  <c:v>974.4238330022738</c:v>
                </c:pt>
                <c:pt idx="39">
                  <c:v>987.70059375076755</c:v>
                </c:pt>
                <c:pt idx="40">
                  <c:v>1000.3749865128424</c:v>
                </c:pt>
                <c:pt idx="41">
                  <c:v>1012.475914023493</c:v>
                </c:pt>
                <c:pt idx="42">
                  <c:v>1024.0214326587968</c:v>
                </c:pt>
                <c:pt idx="43">
                  <c:v>1035.0249927994555</c:v>
                </c:pt>
                <c:pt idx="44">
                  <c:v>1045.5005918680254</c:v>
                </c:pt>
                <c:pt idx="45">
                  <c:v>1055.4853855876449</c:v>
                </c:pt>
                <c:pt idx="46">
                  <c:v>1065.001872296451</c:v>
                </c:pt>
                <c:pt idx="47">
                  <c:v>1074.0699106001907</c:v>
                </c:pt>
                <c:pt idx="48">
                  <c:v>1082.7165332236041</c:v>
                </c:pt>
                <c:pt idx="49">
                  <c:v>1090.9593554580936</c:v>
                </c:pt>
                <c:pt idx="50">
                  <c:v>1098.8187598413429</c:v>
                </c:pt>
                <c:pt idx="51">
                  <c:v>1106.3123784732268</c:v>
                </c:pt>
                <c:pt idx="52">
                  <c:v>1113.4553258749722</c:v>
                </c:pt>
                <c:pt idx="53">
                  <c:v>1120.2702360091762</c:v>
                </c:pt>
                <c:pt idx="54">
                  <c:v>1126.7767212924489</c:v>
                </c:pt>
                <c:pt idx="55">
                  <c:v>1132.9841108248152</c:v>
                </c:pt>
                <c:pt idx="56">
                  <c:v>1138.9103687470863</c:v>
                </c:pt>
                <c:pt idx="57">
                  <c:v>1144.5684434639466</c:v>
                </c:pt>
                <c:pt idx="58">
                  <c:v>1149.969958546031</c:v>
                </c:pt>
                <c:pt idx="59">
                  <c:v>1155.1301870685922</c:v>
                </c:pt>
                <c:pt idx="60">
                  <c:v>1160.0606304761372</c:v>
                </c:pt>
                <c:pt idx="61">
                  <c:v>1164.7718274236997</c:v>
                </c:pt>
                <c:pt idx="62">
                  <c:v>1169.2781280394183</c:v>
                </c:pt>
                <c:pt idx="63">
                  <c:v>1173.5861320523215</c:v>
                </c:pt>
                <c:pt idx="64">
                  <c:v>1177.7090337253683</c:v>
                </c:pt>
                <c:pt idx="65">
                  <c:v>1181.6528616380481</c:v>
                </c:pt>
                <c:pt idx="66">
                  <c:v>1185.4303157133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67.98648659134381</c:v>
                </c:pt>
                <c:pt idx="27">
                  <c:v>789.6664282755994</c:v>
                </c:pt>
                <c:pt idx="28">
                  <c:v>810.8398489046624</c:v>
                </c:pt>
                <c:pt idx="29">
                  <c:v>831.49664439688172</c:v>
                </c:pt>
                <c:pt idx="30">
                  <c:v>851.72329295023667</c:v>
                </c:pt>
                <c:pt idx="31">
                  <c:v>871.7200459786427</c:v>
                </c:pt>
                <c:pt idx="32">
                  <c:v>891.54716700625841</c:v>
                </c:pt>
                <c:pt idx="33">
                  <c:v>911.13990715010425</c:v>
                </c:pt>
                <c:pt idx="34">
                  <c:v>930.44526430776909</c:v>
                </c:pt>
                <c:pt idx="35">
                  <c:v>949.40148244316561</c:v>
                </c:pt>
                <c:pt idx="36">
                  <c:v>967.95637598428675</c:v>
                </c:pt>
                <c:pt idx="37">
                  <c:v>986.05663513027366</c:v>
                </c:pt>
                <c:pt idx="38">
                  <c:v>1003.7251822851217</c:v>
                </c:pt>
                <c:pt idx="39">
                  <c:v>1020.9749167741237</c:v>
                </c:pt>
                <c:pt idx="40">
                  <c:v>1037.7872434394937</c:v>
                </c:pt>
                <c:pt idx="41">
                  <c:v>1054.1617927755476</c:v>
                </c:pt>
                <c:pt idx="42">
                  <c:v>1070.1130043354628</c:v>
                </c:pt>
                <c:pt idx="43">
                  <c:v>1085.6432135444425</c:v>
                </c:pt>
                <c:pt idx="44">
                  <c:v>1100.7507408380625</c:v>
                </c:pt>
                <c:pt idx="45">
                  <c:v>1115.4560596388283</c:v>
                </c:pt>
                <c:pt idx="46">
                  <c:v>1129.7739036570556</c:v>
                </c:pt>
                <c:pt idx="47">
                  <c:v>1143.7096068013868</c:v>
                </c:pt>
                <c:pt idx="48">
                  <c:v>1157.2704607763935</c:v>
                </c:pt>
                <c:pt idx="49">
                  <c:v>1170.4744490215494</c:v>
                </c:pt>
                <c:pt idx="50">
                  <c:v>1183.3258710372888</c:v>
                </c:pt>
                <c:pt idx="51">
                  <c:v>1195.8357914357841</c:v>
                </c:pt>
                <c:pt idx="52">
                  <c:v>1208.0105449819191</c:v>
                </c:pt>
                <c:pt idx="53">
                  <c:v>1219.8638257236987</c:v>
                </c:pt>
                <c:pt idx="54">
                  <c:v>1231.4064035921917</c:v>
                </c:pt>
                <c:pt idx="55">
                  <c:v>1242.6432054060097</c:v>
                </c:pt>
                <c:pt idx="56">
                  <c:v>1253.5846502478641</c:v>
                </c:pt>
                <c:pt idx="57">
                  <c:v>1264.2397571255015</c:v>
                </c:pt>
                <c:pt idx="58">
                  <c:v>1274.6131086647761</c:v>
                </c:pt>
                <c:pt idx="59">
                  <c:v>1284.7165809908693</c:v>
                </c:pt>
                <c:pt idx="60">
                  <c:v>1294.5551077995096</c:v>
                </c:pt>
                <c:pt idx="61">
                  <c:v>1304.140406009454</c:v>
                </c:pt>
                <c:pt idx="62">
                  <c:v>1313.4772757991489</c:v>
                </c:pt>
                <c:pt idx="63">
                  <c:v>1322.5732937357589</c:v>
                </c:pt>
                <c:pt idx="64">
                  <c:v>1331.4364074794235</c:v>
                </c:pt>
                <c:pt idx="65">
                  <c:v>1340.0705096700926</c:v>
                </c:pt>
                <c:pt idx="66">
                  <c:v>1348.4827298508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68.52833673963562</c:v>
                </c:pt>
                <c:pt idx="27">
                  <c:v>791.16443603768187</c:v>
                </c:pt>
                <c:pt idx="28">
                  <c:v>813.56636366220994</c:v>
                </c:pt>
                <c:pt idx="29">
                  <c:v>835.63733773440697</c:v>
                </c:pt>
                <c:pt idx="30">
                  <c:v>857.54527223697892</c:v>
                </c:pt>
                <c:pt idx="31">
                  <c:v>879.56208650558858</c:v>
                </c:pt>
                <c:pt idx="32">
                  <c:v>901.79955244674693</c:v>
                </c:pt>
                <c:pt idx="33">
                  <c:v>924.21911238654559</c:v>
                </c:pt>
                <c:pt idx="34">
                  <c:v>946.68110113426371</c:v>
                </c:pt>
                <c:pt idx="35">
                  <c:v>969.08230551728661</c:v>
                </c:pt>
                <c:pt idx="36">
                  <c:v>991.38233187025583</c:v>
                </c:pt>
                <c:pt idx="37">
                  <c:v>1013.5700990867438</c:v>
                </c:pt>
                <c:pt idx="38">
                  <c:v>1035.661498096021</c:v>
                </c:pt>
                <c:pt idx="39">
                  <c:v>1057.646732929235</c:v>
                </c:pt>
                <c:pt idx="40">
                  <c:v>1079.4887424914014</c:v>
                </c:pt>
                <c:pt idx="41">
                  <c:v>1101.1594256998715</c:v>
                </c:pt>
                <c:pt idx="42">
                  <c:v>1122.6644971339197</c:v>
                </c:pt>
                <c:pt idx="43">
                  <c:v>1144.0132211972593</c:v>
                </c:pt>
                <c:pt idx="44">
                  <c:v>1165.2059215853574</c:v>
                </c:pt>
                <c:pt idx="45">
                  <c:v>1186.2435009549004</c:v>
                </c:pt>
                <c:pt idx="46">
                  <c:v>1207.1139885359175</c:v>
                </c:pt>
                <c:pt idx="47">
                  <c:v>1227.8144023298294</c:v>
                </c:pt>
                <c:pt idx="48">
                  <c:v>1248.3547496793753</c:v>
                </c:pt>
                <c:pt idx="49">
                  <c:v>1268.7378222453024</c:v>
                </c:pt>
                <c:pt idx="50">
                  <c:v>1288.9665000959926</c:v>
                </c:pt>
                <c:pt idx="51">
                  <c:v>1309.0362921031137</c:v>
                </c:pt>
                <c:pt idx="52">
                  <c:v>1328.9475264293624</c:v>
                </c:pt>
                <c:pt idx="53">
                  <c:v>1348.7017281354454</c:v>
                </c:pt>
                <c:pt idx="54">
                  <c:v>1368.3006228166755</c:v>
                </c:pt>
                <c:pt idx="55">
                  <c:v>1387.7528843162545</c:v>
                </c:pt>
                <c:pt idx="56">
                  <c:v>1407.0547698306239</c:v>
                </c:pt>
                <c:pt idx="57">
                  <c:v>1426.2061567023165</c:v>
                </c:pt>
                <c:pt idx="58">
                  <c:v>1445.2116584785522</c:v>
                </c:pt>
                <c:pt idx="59">
                  <c:v>1464.064347078433</c:v>
                </c:pt>
                <c:pt idx="60">
                  <c:v>1482.7716050236459</c:v>
                </c:pt>
                <c:pt idx="61">
                  <c:v>1501.3352386597267</c:v>
                </c:pt>
                <c:pt idx="62">
                  <c:v>1519.7559601341563</c:v>
                </c:pt>
                <c:pt idx="63">
                  <c:v>1538.034312840339</c:v>
                </c:pt>
                <c:pt idx="64">
                  <c:v>1556.1708429786308</c:v>
                </c:pt>
                <c:pt idx="65">
                  <c:v>1574.1700896593652</c:v>
                </c:pt>
                <c:pt idx="66">
                  <c:v>1592.029222028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69.34318009241156</c:v>
                </c:pt>
                <c:pt idx="27">
                  <c:v>793.41808092844531</c:v>
                </c:pt>
                <c:pt idx="28">
                  <c:v>817.66587970712112</c:v>
                </c:pt>
                <c:pt idx="29">
                  <c:v>841.85909818826303</c:v>
                </c:pt>
                <c:pt idx="30">
                  <c:v>866.34552939731327</c:v>
                </c:pt>
                <c:pt idx="31">
                  <c:v>891.53918766063555</c:v>
                </c:pt>
                <c:pt idx="32">
                  <c:v>917.65123221377826</c:v>
                </c:pt>
                <c:pt idx="33">
                  <c:v>944.70418112814514</c:v>
                </c:pt>
                <c:pt idx="34">
                  <c:v>972.41624560270031</c:v>
                </c:pt>
                <c:pt idx="35">
                  <c:v>1000.6452904936789</c:v>
                </c:pt>
                <c:pt idx="36">
                  <c:v>1029.3987148270489</c:v>
                </c:pt>
                <c:pt idx="37">
                  <c:v>1058.7828303153788</c:v>
                </c:pt>
                <c:pt idx="38">
                  <c:v>1088.8433033610813</c:v>
                </c:pt>
                <c:pt idx="39">
                  <c:v>1119.5461942670975</c:v>
                </c:pt>
                <c:pt idx="40">
                  <c:v>1150.8185565564872</c:v>
                </c:pt>
                <c:pt idx="41">
                  <c:v>1182.6199423266162</c:v>
                </c:pt>
                <c:pt idx="42">
                  <c:v>1214.9971827249597</c:v>
                </c:pt>
                <c:pt idx="43">
                  <c:v>1248.0023259391423</c:v>
                </c:pt>
                <c:pt idx="44">
                  <c:v>1281.6555341515586</c:v>
                </c:pt>
                <c:pt idx="45">
                  <c:v>1315.9398831844537</c:v>
                </c:pt>
                <c:pt idx="46">
                  <c:v>1350.8360570114751</c:v>
                </c:pt>
                <c:pt idx="47">
                  <c:v>1386.3424290951702</c:v>
                </c:pt>
                <c:pt idx="48">
                  <c:v>1422.4958709104963</c:v>
                </c:pt>
                <c:pt idx="49">
                  <c:v>1459.3313951129048</c:v>
                </c:pt>
                <c:pt idx="50">
                  <c:v>1496.8572634346326</c:v>
                </c:pt>
                <c:pt idx="51">
                  <c:v>1535.0694456472136</c:v>
                </c:pt>
                <c:pt idx="52">
                  <c:v>1573.9632780487675</c:v>
                </c:pt>
                <c:pt idx="53">
                  <c:v>1613.5547255129591</c:v>
                </c:pt>
                <c:pt idx="54">
                  <c:v>1653.8675696037515</c:v>
                </c:pt>
                <c:pt idx="55">
                  <c:v>1694.9260247491388</c:v>
                </c:pt>
                <c:pt idx="56">
                  <c:v>1736.7368201027443</c:v>
                </c:pt>
                <c:pt idx="57">
                  <c:v>1779.3052253711635</c:v>
                </c:pt>
                <c:pt idx="58">
                  <c:v>1822.6402304317878</c:v>
                </c:pt>
                <c:pt idx="59">
                  <c:v>1866.7596439391634</c:v>
                </c:pt>
                <c:pt idx="60">
                  <c:v>1911.6790528758866</c:v>
                </c:pt>
                <c:pt idx="61">
                  <c:v>1957.4137733951432</c:v>
                </c:pt>
                <c:pt idx="62">
                  <c:v>2003.9791420366319</c:v>
                </c:pt>
                <c:pt idx="63">
                  <c:v>2051.3863692271289</c:v>
                </c:pt>
                <c:pt idx="64">
                  <c:v>2099.6500849412214</c:v>
                </c:pt>
                <c:pt idx="65">
                  <c:v>2148.785632956975</c:v>
                </c:pt>
                <c:pt idx="66">
                  <c:v>2198.8085851028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7</c:v>
                </c:pt>
                <c:pt idx="1">
                  <c:v>585</c:v>
                </c:pt>
                <c:pt idx="2">
                  <c:v>577</c:v>
                </c:pt>
                <c:pt idx="3">
                  <c:v>581</c:v>
                </c:pt>
                <c:pt idx="4">
                  <c:v>573</c:v>
                </c:pt>
                <c:pt idx="5">
                  <c:v>599</c:v>
                </c:pt>
                <c:pt idx="6">
                  <c:v>556</c:v>
                </c:pt>
                <c:pt idx="7">
                  <c:v>522</c:v>
                </c:pt>
                <c:pt idx="8">
                  <c:v>509</c:v>
                </c:pt>
                <c:pt idx="9">
                  <c:v>453</c:v>
                </c:pt>
                <c:pt idx="10">
                  <c:v>446</c:v>
                </c:pt>
                <c:pt idx="11">
                  <c:v>463</c:v>
                </c:pt>
                <c:pt idx="12">
                  <c:v>431</c:v>
                </c:pt>
                <c:pt idx="13">
                  <c:v>411</c:v>
                </c:pt>
                <c:pt idx="14">
                  <c:v>382</c:v>
                </c:pt>
                <c:pt idx="15">
                  <c:v>362</c:v>
                </c:pt>
                <c:pt idx="16">
                  <c:v>321</c:v>
                </c:pt>
                <c:pt idx="17">
                  <c:v>333</c:v>
                </c:pt>
                <c:pt idx="18">
                  <c:v>345</c:v>
                </c:pt>
                <c:pt idx="19">
                  <c:v>308</c:v>
                </c:pt>
                <c:pt idx="20">
                  <c:v>300</c:v>
                </c:pt>
                <c:pt idx="21">
                  <c:v>278</c:v>
                </c:pt>
                <c:pt idx="22">
                  <c:v>256</c:v>
                </c:pt>
                <c:pt idx="23">
                  <c:v>219</c:v>
                </c:pt>
                <c:pt idx="24">
                  <c:v>205</c:v>
                </c:pt>
                <c:pt idx="25">
                  <c:v>215</c:v>
                </c:pt>
                <c:pt idx="26">
                  <c:v>200</c:v>
                </c:pt>
                <c:pt idx="27">
                  <c:v>184</c:v>
                </c:pt>
                <c:pt idx="28">
                  <c:v>165</c:v>
                </c:pt>
                <c:pt idx="29">
                  <c:v>169</c:v>
                </c:pt>
                <c:pt idx="30">
                  <c:v>161</c:v>
                </c:pt>
                <c:pt idx="31">
                  <c:v>162</c:v>
                </c:pt>
                <c:pt idx="32">
                  <c:v>175</c:v>
                </c:pt>
                <c:pt idx="33">
                  <c:v>166</c:v>
                </c:pt>
                <c:pt idx="34">
                  <c:v>151</c:v>
                </c:pt>
                <c:pt idx="35">
                  <c:v>138</c:v>
                </c:pt>
                <c:pt idx="36">
                  <c:v>129</c:v>
                </c:pt>
                <c:pt idx="37">
                  <c:v>115</c:v>
                </c:pt>
                <c:pt idx="38">
                  <c:v>109</c:v>
                </c:pt>
                <c:pt idx="39">
                  <c:v>114</c:v>
                </c:pt>
                <c:pt idx="40">
                  <c:v>104</c:v>
                </c:pt>
                <c:pt idx="41">
                  <c:v>100</c:v>
                </c:pt>
                <c:pt idx="42">
                  <c:v>91</c:v>
                </c:pt>
                <c:pt idx="43">
                  <c:v>85</c:v>
                </c:pt>
                <c:pt idx="44">
                  <c:v>73</c:v>
                </c:pt>
                <c:pt idx="45">
                  <c:v>74</c:v>
                </c:pt>
                <c:pt idx="46">
                  <c:v>82</c:v>
                </c:pt>
                <c:pt idx="47">
                  <c:v>66</c:v>
                </c:pt>
                <c:pt idx="48">
                  <c:v>59</c:v>
                </c:pt>
                <c:pt idx="49">
                  <c:v>51</c:v>
                </c:pt>
                <c:pt idx="50">
                  <c:v>46</c:v>
                </c:pt>
                <c:pt idx="51">
                  <c:v>38</c:v>
                </c:pt>
                <c:pt idx="52">
                  <c:v>43</c:v>
                </c:pt>
                <c:pt idx="53">
                  <c:v>42</c:v>
                </c:pt>
                <c:pt idx="54">
                  <c:v>36</c:v>
                </c:pt>
                <c:pt idx="55">
                  <c:v>35</c:v>
                </c:pt>
                <c:pt idx="56">
                  <c:v>32</c:v>
                </c:pt>
                <c:pt idx="57">
                  <c:v>2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8.49518020317612</c:v>
                </c:pt>
                <c:pt idx="27">
                  <c:v>200.17504464590945</c:v>
                </c:pt>
                <c:pt idx="28">
                  <c:v>192.226309454834</c:v>
                </c:pt>
                <c:pt idx="29">
                  <c:v>184.66036236727621</c:v>
                </c:pt>
                <c:pt idx="30">
                  <c:v>177.60432434713954</c:v>
                </c:pt>
                <c:pt idx="31">
                  <c:v>171.1561110525663</c:v>
                </c:pt>
                <c:pt idx="32">
                  <c:v>165.10705703204195</c:v>
                </c:pt>
                <c:pt idx="33">
                  <c:v>159.16076493487083</c:v>
                </c:pt>
                <c:pt idx="34">
                  <c:v>153.37742118179955</c:v>
                </c:pt>
                <c:pt idx="35">
                  <c:v>147.86462527858669</c:v>
                </c:pt>
                <c:pt idx="36">
                  <c:v>142.60581203958955</c:v>
                </c:pt>
                <c:pt idx="37">
                  <c:v>137.56001634145096</c:v>
                </c:pt>
                <c:pt idx="38">
                  <c:v>132.76167645429399</c:v>
                </c:pt>
                <c:pt idx="39">
                  <c:v>128.0252601081533</c:v>
                </c:pt>
                <c:pt idx="40">
                  <c:v>123.24929912489046</c:v>
                </c:pt>
                <c:pt idx="41">
                  <c:v>118.53987914153694</c:v>
                </c:pt>
                <c:pt idx="42">
                  <c:v>113.96607311117727</c:v>
                </c:pt>
                <c:pt idx="43">
                  <c:v>109.51950182277707</c:v>
                </c:pt>
                <c:pt idx="44">
                  <c:v>105.19891099342291</c:v>
                </c:pt>
                <c:pt idx="45">
                  <c:v>101.01718574448311</c:v>
                </c:pt>
                <c:pt idx="46">
                  <c:v>96.917643402084735</c:v>
                </c:pt>
                <c:pt idx="47">
                  <c:v>92.916682868769897</c:v>
                </c:pt>
                <c:pt idx="48">
                  <c:v>89.046249419487935</c:v>
                </c:pt>
                <c:pt idx="49">
                  <c:v>85.290404697763336</c:v>
                </c:pt>
                <c:pt idx="50">
                  <c:v>81.658455811834756</c:v>
                </c:pt>
                <c:pt idx="51">
                  <c:v>78.162972081657784</c:v>
                </c:pt>
                <c:pt idx="52">
                  <c:v>74.801878546691228</c:v>
                </c:pt>
                <c:pt idx="53">
                  <c:v>71.561092512862999</c:v>
                </c:pt>
                <c:pt idx="54">
                  <c:v>68.451588940417096</c:v>
                </c:pt>
                <c:pt idx="55">
                  <c:v>65.468720498842458</c:v>
                </c:pt>
                <c:pt idx="56">
                  <c:v>62.61246204320021</c:v>
                </c:pt>
                <c:pt idx="57">
                  <c:v>59.872638853263403</c:v>
                </c:pt>
                <c:pt idx="58">
                  <c:v>57.250535868517176</c:v>
                </c:pt>
                <c:pt idx="59">
                  <c:v>54.760736858927956</c:v>
                </c:pt>
                <c:pt idx="60">
                  <c:v>52.386063046877481</c:v>
                </c:pt>
                <c:pt idx="61">
                  <c:v>50.104266295536334</c:v>
                </c:pt>
                <c:pt idx="62">
                  <c:v>47.935992507181389</c:v>
                </c:pt>
                <c:pt idx="63">
                  <c:v>45.8686394571452</c:v>
                </c:pt>
                <c:pt idx="64">
                  <c:v>43.897361151623905</c:v>
                </c:pt>
                <c:pt idx="65">
                  <c:v>42.024888536368756</c:v>
                </c:pt>
                <c:pt idx="66">
                  <c:v>40.241122731039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8.82123520691269</c:v>
                </c:pt>
                <c:pt idx="27">
                  <c:v>201.06553497879034</c:v>
                </c:pt>
                <c:pt idx="28">
                  <c:v>193.82701725950275</c:v>
                </c:pt>
                <c:pt idx="29">
                  <c:v>187.05553938259504</c:v>
                </c:pt>
                <c:pt idx="30">
                  <c:v>180.90336574454332</c:v>
                </c:pt>
                <c:pt idx="31">
                  <c:v>175.48927165387579</c:v>
                </c:pt>
                <c:pt idx="32">
                  <c:v>170.61486427881385</c:v>
                </c:pt>
                <c:pt idx="33">
                  <c:v>165.98410046981857</c:v>
                </c:pt>
                <c:pt idx="34">
                  <c:v>161.59583600963549</c:v>
                </c:pt>
                <c:pt idx="35">
                  <c:v>157.52307641432111</c:v>
                </c:pt>
                <c:pt idx="36">
                  <c:v>153.73194154857578</c:v>
                </c:pt>
                <c:pt idx="37">
                  <c:v>150.18491994294698</c:v>
                </c:pt>
                <c:pt idx="38">
                  <c:v>146.90653533008435</c:v>
                </c:pt>
                <c:pt idx="39">
                  <c:v>143.69308734712513</c:v>
                </c:pt>
                <c:pt idx="40">
                  <c:v>140.41559471366341</c:v>
                </c:pt>
                <c:pt idx="41">
                  <c:v>137.15496385722764</c:v>
                </c:pt>
                <c:pt idx="42">
                  <c:v>133.97606339470167</c:v>
                </c:pt>
                <c:pt idx="43">
                  <c:v>130.86816383585764</c:v>
                </c:pt>
                <c:pt idx="44">
                  <c:v>127.82455445658115</c:v>
                </c:pt>
                <c:pt idx="45">
                  <c:v>124.85076879275431</c:v>
                </c:pt>
                <c:pt idx="46">
                  <c:v>121.88776378237142</c:v>
                </c:pt>
                <c:pt idx="47">
                  <c:v>118.94574565591559</c:v>
                </c:pt>
                <c:pt idx="48">
                  <c:v>116.0488223585245</c:v>
                </c:pt>
                <c:pt idx="49">
                  <c:v>113.18837081372894</c:v>
                </c:pt>
                <c:pt idx="50">
                  <c:v>110.37171446667217</c:v>
                </c:pt>
                <c:pt idx="51">
                  <c:v>107.61452677196979</c:v>
                </c:pt>
                <c:pt idx="52">
                  <c:v>104.91555767435753</c:v>
                </c:pt>
                <c:pt idx="53">
                  <c:v>102.26175799507055</c:v>
                </c:pt>
                <c:pt idx="54">
                  <c:v>99.66564774123627</c:v>
                </c:pt>
                <c:pt idx="55">
                  <c:v>97.126876037378523</c:v>
                </c:pt>
                <c:pt idx="56">
                  <c:v>94.648229648208755</c:v>
                </c:pt>
                <c:pt idx="57">
                  <c:v>92.22380239982995</c:v>
                </c:pt>
                <c:pt idx="58">
                  <c:v>89.856740337381268</c:v>
                </c:pt>
                <c:pt idx="59">
                  <c:v>87.56564303968652</c:v>
                </c:pt>
                <c:pt idx="60">
                  <c:v>85.335386136625644</c:v>
                </c:pt>
                <c:pt idx="61">
                  <c:v>83.149899756904091</c:v>
                </c:pt>
                <c:pt idx="62">
                  <c:v>81.029278561180234</c:v>
                </c:pt>
                <c:pt idx="63">
                  <c:v>78.966495249305609</c:v>
                </c:pt>
                <c:pt idx="64">
                  <c:v>76.95832313413176</c:v>
                </c:pt>
                <c:pt idx="65">
                  <c:v>75.010668539518477</c:v>
                </c:pt>
                <c:pt idx="66">
                  <c:v>73.114249763319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9.14482009698457</c:v>
                </c:pt>
                <c:pt idx="27">
                  <c:v>201.9530966211766</c:v>
                </c:pt>
                <c:pt idx="28">
                  <c:v>195.4246719026317</c:v>
                </c:pt>
                <c:pt idx="29">
                  <c:v>189.44758389419513</c:v>
                </c:pt>
                <c:pt idx="30">
                  <c:v>184.21403015769297</c:v>
                </c:pt>
                <c:pt idx="31">
                  <c:v>179.87628183658092</c:v>
                </c:pt>
                <c:pt idx="32">
                  <c:v>176.25620474902649</c:v>
                </c:pt>
                <c:pt idx="33">
                  <c:v>173.06050362639957</c:v>
                </c:pt>
                <c:pt idx="34">
                  <c:v>170.22040105748005</c:v>
                </c:pt>
                <c:pt idx="35">
                  <c:v>167.77119376597869</c:v>
                </c:pt>
                <c:pt idx="36">
                  <c:v>165.67625927886075</c:v>
                </c:pt>
                <c:pt idx="37">
                  <c:v>163.91393175013894</c:v>
                </c:pt>
                <c:pt idx="38">
                  <c:v>162.49554371700088</c:v>
                </c:pt>
                <c:pt idx="39">
                  <c:v>161.19525139769516</c:v>
                </c:pt>
                <c:pt idx="40">
                  <c:v>159.86190524804687</c:v>
                </c:pt>
                <c:pt idx="41">
                  <c:v>158.54811961472484</c:v>
                </c:pt>
                <c:pt idx="42">
                  <c:v>157.30745366681583</c:v>
                </c:pt>
                <c:pt idx="43">
                  <c:v>156.13360245728632</c:v>
                </c:pt>
                <c:pt idx="44">
                  <c:v>155.02058498031894</c:v>
                </c:pt>
                <c:pt idx="45">
                  <c:v>153.95998249083468</c:v>
                </c:pt>
                <c:pt idx="46">
                  <c:v>152.87418033669888</c:v>
                </c:pt>
                <c:pt idx="47">
                  <c:v>151.76650025819632</c:v>
                </c:pt>
                <c:pt idx="48">
                  <c:v>150.66268104756165</c:v>
                </c:pt>
                <c:pt idx="49">
                  <c:v>149.54846360329148</c:v>
                </c:pt>
                <c:pt idx="50">
                  <c:v>148.43447644688996</c:v>
                </c:pt>
                <c:pt idx="51">
                  <c:v>147.33018802452875</c:v>
                </c:pt>
                <c:pt idx="52">
                  <c:v>146.23308411268599</c:v>
                </c:pt>
                <c:pt idx="53">
                  <c:v>145.12613650947114</c:v>
                </c:pt>
                <c:pt idx="54">
                  <c:v>144.0207488091001</c:v>
                </c:pt>
                <c:pt idx="55">
                  <c:v>142.92333673383854</c:v>
                </c:pt>
                <c:pt idx="56">
                  <c:v>141.8333273368402</c:v>
                </c:pt>
                <c:pt idx="57">
                  <c:v>140.74410911311671</c:v>
                </c:pt>
                <c:pt idx="58">
                  <c:v>139.66299756711908</c:v>
                </c:pt>
                <c:pt idx="59">
                  <c:v>138.6016451861625</c:v>
                </c:pt>
                <c:pt idx="60">
                  <c:v>137.55142227426927</c:v>
                </c:pt>
                <c:pt idx="61">
                  <c:v>136.49516999264833</c:v>
                </c:pt>
                <c:pt idx="62">
                  <c:v>135.45508523255472</c:v>
                </c:pt>
                <c:pt idx="63">
                  <c:v>134.4243038331532</c:v>
                </c:pt>
                <c:pt idx="64">
                  <c:v>133.39970382727512</c:v>
                </c:pt>
                <c:pt idx="65">
                  <c:v>132.39203086113048</c:v>
                </c:pt>
                <c:pt idx="66">
                  <c:v>131.39027977102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9.6314324889247</c:v>
                </c:pt>
                <c:pt idx="27">
                  <c:v>203.28837354366789</c:v>
                </c:pt>
                <c:pt idx="28">
                  <c:v>197.82684419542187</c:v>
                </c:pt>
                <c:pt idx="29">
                  <c:v>193.04173442024165</c:v>
                </c:pt>
                <c:pt idx="30">
                  <c:v>189.21963122950012</c:v>
                </c:pt>
                <c:pt idx="31">
                  <c:v>186.58299923462238</c:v>
                </c:pt>
                <c:pt idx="32">
                  <c:v>184.99571902925339</c:v>
                </c:pt>
                <c:pt idx="33">
                  <c:v>184.17914025169242</c:v>
                </c:pt>
                <c:pt idx="34">
                  <c:v>183.95246099045085</c:v>
                </c:pt>
                <c:pt idx="35">
                  <c:v>184.30458451713142</c:v>
                </c:pt>
                <c:pt idx="36">
                  <c:v>185.20845013751676</c:v>
                </c:pt>
                <c:pt idx="37">
                  <c:v>186.69328624480252</c:v>
                </c:pt>
                <c:pt idx="38">
                  <c:v>188.76806529369043</c:v>
                </c:pt>
                <c:pt idx="39">
                  <c:v>191.17174487383431</c:v>
                </c:pt>
                <c:pt idx="40">
                  <c:v>193.70638151313432</c:v>
                </c:pt>
                <c:pt idx="41">
                  <c:v>196.39066705729886</c:v>
                </c:pt>
                <c:pt idx="42">
                  <c:v>199.28436915853018</c:v>
                </c:pt>
                <c:pt idx="43">
                  <c:v>202.39710785534362</c:v>
                </c:pt>
                <c:pt idx="44">
                  <c:v>205.7226495927294</c:v>
                </c:pt>
                <c:pt idx="45">
                  <c:v>209.22590829930368</c:v>
                </c:pt>
                <c:pt idx="46">
                  <c:v>212.80791678696076</c:v>
                </c:pt>
                <c:pt idx="47">
                  <c:v>216.45705077483689</c:v>
                </c:pt>
                <c:pt idx="48">
                  <c:v>220.20252711166461</c:v>
                </c:pt>
                <c:pt idx="49">
                  <c:v>224.04176502858633</c:v>
                </c:pt>
                <c:pt idx="50">
                  <c:v>227.98122799796676</c:v>
                </c:pt>
                <c:pt idx="51">
                  <c:v>232.02097648344977</c:v>
                </c:pt>
                <c:pt idx="52">
                  <c:v>236.14425185328471</c:v>
                </c:pt>
                <c:pt idx="53">
                  <c:v>240.33327343501634</c:v>
                </c:pt>
                <c:pt idx="54">
                  <c:v>244.60529515162148</c:v>
                </c:pt>
                <c:pt idx="55">
                  <c:v>248.96928481837708</c:v>
                </c:pt>
                <c:pt idx="56">
                  <c:v>253.42462735801027</c:v>
                </c:pt>
                <c:pt idx="57">
                  <c:v>257.96037272672623</c:v>
                </c:pt>
                <c:pt idx="58">
                  <c:v>262.57826825529014</c:v>
                </c:pt>
                <c:pt idx="59">
                  <c:v>267.29737712684454</c:v>
                </c:pt>
                <c:pt idx="60">
                  <c:v>272.10772075484465</c:v>
                </c:pt>
                <c:pt idx="61">
                  <c:v>276.99378651750197</c:v>
                </c:pt>
                <c:pt idx="62">
                  <c:v>281.97952746181369</c:v>
                </c:pt>
                <c:pt idx="63">
                  <c:v>287.05712704283161</c:v>
                </c:pt>
                <c:pt idx="64">
                  <c:v>292.22459082416844</c:v>
                </c:pt>
                <c:pt idx="65">
                  <c:v>297.49202275884528</c:v>
                </c:pt>
                <c:pt idx="66">
                  <c:v>302.85256976045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90</c:v>
                </c:pt>
                <c:pt idx="1">
                  <c:v>990</c:v>
                </c:pt>
                <c:pt idx="2">
                  <c:v>990</c:v>
                </c:pt>
                <c:pt idx="3">
                  <c:v>990</c:v>
                </c:pt>
                <c:pt idx="4">
                  <c:v>990</c:v>
                </c:pt>
                <c:pt idx="5">
                  <c:v>990</c:v>
                </c:pt>
                <c:pt idx="6">
                  <c:v>990</c:v>
                </c:pt>
                <c:pt idx="7">
                  <c:v>990</c:v>
                </c:pt>
                <c:pt idx="8">
                  <c:v>990</c:v>
                </c:pt>
                <c:pt idx="9">
                  <c:v>990</c:v>
                </c:pt>
                <c:pt idx="10">
                  <c:v>990</c:v>
                </c:pt>
                <c:pt idx="11">
                  <c:v>990</c:v>
                </c:pt>
                <c:pt idx="12">
                  <c:v>990</c:v>
                </c:pt>
                <c:pt idx="13">
                  <c:v>990</c:v>
                </c:pt>
                <c:pt idx="14">
                  <c:v>990</c:v>
                </c:pt>
                <c:pt idx="15">
                  <c:v>990</c:v>
                </c:pt>
                <c:pt idx="16">
                  <c:v>990</c:v>
                </c:pt>
                <c:pt idx="17">
                  <c:v>990</c:v>
                </c:pt>
                <c:pt idx="18">
                  <c:v>990</c:v>
                </c:pt>
                <c:pt idx="19">
                  <c:v>990</c:v>
                </c:pt>
                <c:pt idx="20">
                  <c:v>990</c:v>
                </c:pt>
                <c:pt idx="21">
                  <c:v>990</c:v>
                </c:pt>
                <c:pt idx="22">
                  <c:v>990</c:v>
                </c:pt>
                <c:pt idx="23">
                  <c:v>990</c:v>
                </c:pt>
                <c:pt idx="24">
                  <c:v>990</c:v>
                </c:pt>
                <c:pt idx="25">
                  <c:v>990</c:v>
                </c:pt>
                <c:pt idx="26">
                  <c:v>990</c:v>
                </c:pt>
                <c:pt idx="27">
                  <c:v>990</c:v>
                </c:pt>
                <c:pt idx="28">
                  <c:v>990</c:v>
                </c:pt>
                <c:pt idx="29">
                  <c:v>990</c:v>
                </c:pt>
                <c:pt idx="30">
                  <c:v>990</c:v>
                </c:pt>
                <c:pt idx="31">
                  <c:v>990</c:v>
                </c:pt>
                <c:pt idx="32">
                  <c:v>990</c:v>
                </c:pt>
                <c:pt idx="33">
                  <c:v>990</c:v>
                </c:pt>
                <c:pt idx="34">
                  <c:v>990</c:v>
                </c:pt>
                <c:pt idx="35">
                  <c:v>990</c:v>
                </c:pt>
                <c:pt idx="36">
                  <c:v>990</c:v>
                </c:pt>
                <c:pt idx="37">
                  <c:v>990</c:v>
                </c:pt>
                <c:pt idx="38">
                  <c:v>990</c:v>
                </c:pt>
                <c:pt idx="39">
                  <c:v>990</c:v>
                </c:pt>
                <c:pt idx="40">
                  <c:v>990</c:v>
                </c:pt>
                <c:pt idx="41">
                  <c:v>990</c:v>
                </c:pt>
                <c:pt idx="42">
                  <c:v>990</c:v>
                </c:pt>
                <c:pt idx="43">
                  <c:v>990</c:v>
                </c:pt>
                <c:pt idx="44">
                  <c:v>990</c:v>
                </c:pt>
                <c:pt idx="45">
                  <c:v>990</c:v>
                </c:pt>
                <c:pt idx="46">
                  <c:v>990</c:v>
                </c:pt>
                <c:pt idx="47">
                  <c:v>990</c:v>
                </c:pt>
                <c:pt idx="48">
                  <c:v>990</c:v>
                </c:pt>
                <c:pt idx="49">
                  <c:v>990</c:v>
                </c:pt>
                <c:pt idx="50">
                  <c:v>990</c:v>
                </c:pt>
                <c:pt idx="51">
                  <c:v>990</c:v>
                </c:pt>
                <c:pt idx="52">
                  <c:v>990</c:v>
                </c:pt>
                <c:pt idx="53">
                  <c:v>990</c:v>
                </c:pt>
                <c:pt idx="54">
                  <c:v>990</c:v>
                </c:pt>
                <c:pt idx="55">
                  <c:v>990</c:v>
                </c:pt>
                <c:pt idx="56">
                  <c:v>990</c:v>
                </c:pt>
                <c:pt idx="57">
                  <c:v>990</c:v>
                </c:pt>
                <c:pt idx="58">
                  <c:v>990</c:v>
                </c:pt>
                <c:pt idx="59">
                  <c:v>990</c:v>
                </c:pt>
                <c:pt idx="60">
                  <c:v>990</c:v>
                </c:pt>
                <c:pt idx="61">
                  <c:v>990</c:v>
                </c:pt>
                <c:pt idx="62">
                  <c:v>990</c:v>
                </c:pt>
                <c:pt idx="63">
                  <c:v>990</c:v>
                </c:pt>
                <c:pt idx="64">
                  <c:v>990</c:v>
                </c:pt>
                <c:pt idx="65">
                  <c:v>990</c:v>
                </c:pt>
                <c:pt idx="66">
                  <c:v>9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0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18</c:v>
                </c:pt>
                <c:pt idx="5">
                  <c:v>405</c:v>
                </c:pt>
                <c:pt idx="6">
                  <c:v>480</c:v>
                </c:pt>
                <c:pt idx="7">
                  <c:v>521</c:v>
                </c:pt>
                <c:pt idx="8">
                  <c:v>591</c:v>
                </c:pt>
                <c:pt idx="9">
                  <c:v>628</c:v>
                </c:pt>
                <c:pt idx="10">
                  <c:v>665</c:v>
                </c:pt>
                <c:pt idx="11">
                  <c:v>728</c:v>
                </c:pt>
                <c:pt idx="12">
                  <c:v>786</c:v>
                </c:pt>
                <c:pt idx="13">
                  <c:v>838</c:v>
                </c:pt>
                <c:pt idx="14">
                  <c:v>895</c:v>
                </c:pt>
                <c:pt idx="15">
                  <c:v>941</c:v>
                </c:pt>
                <c:pt idx="16">
                  <c:v>972</c:v>
                </c:pt>
                <c:pt idx="17">
                  <c:v>1014</c:v>
                </c:pt>
                <c:pt idx="18">
                  <c:v>1066</c:v>
                </c:pt>
                <c:pt idx="19">
                  <c:v>1126</c:v>
                </c:pt>
                <c:pt idx="20">
                  <c:v>1160</c:v>
                </c:pt>
                <c:pt idx="21">
                  <c:v>1205</c:v>
                </c:pt>
                <c:pt idx="22">
                  <c:v>1243</c:v>
                </c:pt>
                <c:pt idx="23">
                  <c:v>1268</c:v>
                </c:pt>
                <c:pt idx="24">
                  <c:v>1296</c:v>
                </c:pt>
                <c:pt idx="25">
                  <c:v>1322</c:v>
                </c:pt>
                <c:pt idx="26">
                  <c:v>1352</c:v>
                </c:pt>
                <c:pt idx="27">
                  <c:v>1392</c:v>
                </c:pt>
                <c:pt idx="28">
                  <c:v>1433</c:v>
                </c:pt>
                <c:pt idx="29">
                  <c:v>1460</c:v>
                </c:pt>
                <c:pt idx="30">
                  <c:v>1487</c:v>
                </c:pt>
                <c:pt idx="31">
                  <c:v>1508</c:v>
                </c:pt>
                <c:pt idx="32">
                  <c:v>1559</c:v>
                </c:pt>
                <c:pt idx="33">
                  <c:v>1588</c:v>
                </c:pt>
                <c:pt idx="34">
                  <c:v>1618</c:v>
                </c:pt>
                <c:pt idx="35">
                  <c:v>1651</c:v>
                </c:pt>
                <c:pt idx="36">
                  <c:v>1679</c:v>
                </c:pt>
                <c:pt idx="37">
                  <c:v>1697</c:v>
                </c:pt>
                <c:pt idx="38">
                  <c:v>1711</c:v>
                </c:pt>
                <c:pt idx="39">
                  <c:v>1735</c:v>
                </c:pt>
                <c:pt idx="40">
                  <c:v>1755</c:v>
                </c:pt>
                <c:pt idx="41">
                  <c:v>1777</c:v>
                </c:pt>
                <c:pt idx="42">
                  <c:v>1797</c:v>
                </c:pt>
                <c:pt idx="43">
                  <c:v>1819</c:v>
                </c:pt>
                <c:pt idx="44">
                  <c:v>1823</c:v>
                </c:pt>
                <c:pt idx="45">
                  <c:v>1832</c:v>
                </c:pt>
                <c:pt idx="46">
                  <c:v>1850</c:v>
                </c:pt>
                <c:pt idx="47">
                  <c:v>1868</c:v>
                </c:pt>
                <c:pt idx="48">
                  <c:v>1881</c:v>
                </c:pt>
                <c:pt idx="49">
                  <c:v>1896</c:v>
                </c:pt>
                <c:pt idx="50">
                  <c:v>1906</c:v>
                </c:pt>
                <c:pt idx="51">
                  <c:v>1909</c:v>
                </c:pt>
                <c:pt idx="52">
                  <c:v>1913</c:v>
                </c:pt>
                <c:pt idx="53">
                  <c:v>1922</c:v>
                </c:pt>
                <c:pt idx="54">
                  <c:v>1932</c:v>
                </c:pt>
                <c:pt idx="55">
                  <c:v>1943</c:v>
                </c:pt>
                <c:pt idx="56">
                  <c:v>1950</c:v>
                </c:pt>
                <c:pt idx="57">
                  <c:v>1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352.24892655023</c:v>
                </c:pt>
                <c:pt idx="27">
                  <c:v>1380.5500454760013</c:v>
                </c:pt>
                <c:pt idx="28">
                  <c:v>1407.7808392203265</c:v>
                </c:pt>
                <c:pt idx="29">
                  <c:v>1434.0418339283399</c:v>
                </c:pt>
                <c:pt idx="30">
                  <c:v>1459.402664512198</c:v>
                </c:pt>
                <c:pt idx="31">
                  <c:v>1484.0837625256706</c:v>
                </c:pt>
                <c:pt idx="32">
                  <c:v>1508.1374997220032</c:v>
                </c:pt>
                <c:pt idx="33">
                  <c:v>1531.4468394895334</c:v>
                </c:pt>
                <c:pt idx="34">
                  <c:v>1554.0315488084184</c:v>
                </c:pt>
                <c:pt idx="35">
                  <c:v>1575.8417064268817</c:v>
                </c:pt>
                <c:pt idx="36">
                  <c:v>1596.8162111445506</c:v>
                </c:pt>
                <c:pt idx="37">
                  <c:v>1616.8568749970204</c:v>
                </c:pt>
                <c:pt idx="38">
                  <c:v>1636.0029940667284</c:v>
                </c:pt>
                <c:pt idx="39">
                  <c:v>1654.3019763978925</c:v>
                </c:pt>
                <c:pt idx="40">
                  <c:v>1671.7724930919057</c:v>
                </c:pt>
                <c:pt idx="41">
                  <c:v>1688.4533592355797</c:v>
                </c:pt>
                <c:pt idx="42">
                  <c:v>1704.3692522612928</c:v>
                </c:pt>
                <c:pt idx="43">
                  <c:v>1719.5385675992734</c:v>
                </c:pt>
                <c:pt idx="44">
                  <c:v>1733.9799391863485</c:v>
                </c:pt>
                <c:pt idx="45">
                  <c:v>1747.7455957780326</c:v>
                </c:pt>
                <c:pt idx="46">
                  <c:v>1760.8677223611403</c:v>
                </c:pt>
                <c:pt idx="47">
                  <c:v>1773.3715675395529</c:v>
                </c:pt>
                <c:pt idx="48">
                  <c:v>1785.2938768507258</c:v>
                </c:pt>
                <c:pt idx="49">
                  <c:v>1796.6595267187786</c:v>
                </c:pt>
                <c:pt idx="50">
                  <c:v>1807.4955711936532</c:v>
                </c:pt>
                <c:pt idx="51">
                  <c:v>1817.8268099340828</c:v>
                </c:pt>
                <c:pt idx="52">
                  <c:v>1827.6750654751102</c:v>
                </c:pt>
                <c:pt idx="53">
                  <c:v>1837.0714072745045</c:v>
                </c:pt>
                <c:pt idx="54">
                  <c:v>1846.0418721160995</c:v>
                </c:pt>
                <c:pt idx="55">
                  <c:v>1854.6001643431941</c:v>
                </c:pt>
                <c:pt idx="56">
                  <c:v>1862.7705200352643</c:v>
                </c:pt>
                <c:pt idx="57">
                  <c:v>1870.5707826209341</c:v>
                </c:pt>
                <c:pt idx="58">
                  <c:v>1878.0171269793736</c:v>
                </c:pt>
                <c:pt idx="59">
                  <c:v>1885.1304739835259</c:v>
                </c:pt>
                <c:pt idx="60">
                  <c:v>1891.9267267091629</c:v>
                </c:pt>
                <c:pt idx="61">
                  <c:v>1898.420504153034</c:v>
                </c:pt>
                <c:pt idx="62">
                  <c:v>1904.6313949543019</c:v>
                </c:pt>
                <c:pt idx="63">
                  <c:v>1910.568744400171</c:v>
                </c:pt>
                <c:pt idx="64">
                  <c:v>1916.2505619791214</c:v>
                </c:pt>
                <c:pt idx="65">
                  <c:v>1921.6853710954501</c:v>
                </c:pt>
                <c:pt idx="66">
                  <c:v>1926.8904755116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352.9675883344876</c:v>
                </c:pt>
                <c:pt idx="27">
                  <c:v>1382.5287579737185</c:v>
                </c:pt>
                <c:pt idx="28">
                  <c:v>1411.3814809189703</c:v>
                </c:pt>
                <c:pt idx="29">
                  <c:v>1439.5154909508751</c:v>
                </c:pt>
                <c:pt idx="30">
                  <c:v>1467.0778627862071</c:v>
                </c:pt>
                <c:pt idx="31">
                  <c:v>1494.3581591617829</c:v>
                </c:pt>
                <c:pt idx="32">
                  <c:v>1521.4553648005951</c:v>
                </c:pt>
                <c:pt idx="33">
                  <c:v>1548.2804294234845</c:v>
                </c:pt>
                <c:pt idx="34">
                  <c:v>1574.7492513024185</c:v>
                </c:pt>
                <c:pt idx="35">
                  <c:v>1600.7595350035208</c:v>
                </c:pt>
                <c:pt idx="36">
                  <c:v>1626.227854776409</c:v>
                </c:pt>
                <c:pt idx="37">
                  <c:v>1651.07762575894</c:v>
                </c:pt>
                <c:pt idx="38">
                  <c:v>1675.3381888752781</c:v>
                </c:pt>
                <c:pt idx="39">
                  <c:v>1699.0268910325649</c:v>
                </c:pt>
                <c:pt idx="40">
                  <c:v>1722.1169515317476</c:v>
                </c:pt>
                <c:pt idx="41">
                  <c:v>1744.6074977476017</c:v>
                </c:pt>
                <c:pt idx="42">
                  <c:v>1766.5174391562628</c:v>
                </c:pt>
                <c:pt idx="43">
                  <c:v>1787.8494143262537</c:v>
                </c:pt>
                <c:pt idx="44">
                  <c:v>1808.6006165715169</c:v>
                </c:pt>
                <c:pt idx="45">
                  <c:v>1828.8004463742109</c:v>
                </c:pt>
                <c:pt idx="46">
                  <c:v>1848.4700340094505</c:v>
                </c:pt>
                <c:pt idx="47">
                  <c:v>1867.6146822962951</c:v>
                </c:pt>
                <c:pt idx="48">
                  <c:v>1886.2443689645315</c:v>
                </c:pt>
                <c:pt idx="49">
                  <c:v>1904.383714374108</c:v>
                </c:pt>
                <c:pt idx="50">
                  <c:v>1922.0379643706888</c:v>
                </c:pt>
                <c:pt idx="51">
                  <c:v>1939.2227063027626</c:v>
                </c:pt>
                <c:pt idx="52">
                  <c:v>1955.9476454445023</c:v>
                </c:pt>
                <c:pt idx="53">
                  <c:v>1972.2315596294925</c:v>
                </c:pt>
                <c:pt idx="54">
                  <c:v>1988.0883789752438</c:v>
                </c:pt>
                <c:pt idx="55">
                  <c:v>2003.525464705936</c:v>
                </c:pt>
                <c:pt idx="56">
                  <c:v>2018.5566809872118</c:v>
                </c:pt>
                <c:pt idx="57">
                  <c:v>2033.1942730694539</c:v>
                </c:pt>
                <c:pt idx="58">
                  <c:v>2047.4447706061724</c:v>
                </c:pt>
                <c:pt idx="59">
                  <c:v>2061.3242750498684</c:v>
                </c:pt>
                <c:pt idx="60">
                  <c:v>2074.8397143947914</c:v>
                </c:pt>
                <c:pt idx="61">
                  <c:v>2088.0069655958328</c:v>
                </c:pt>
                <c:pt idx="62">
                  <c:v>2100.832763312204</c:v>
                </c:pt>
                <c:pt idx="63">
                  <c:v>2113.3275178171598</c:v>
                </c:pt>
                <c:pt idx="64">
                  <c:v>2125.5020957415927</c:v>
                </c:pt>
                <c:pt idx="65">
                  <c:v>2137.3620238124831</c:v>
                </c:pt>
                <c:pt idx="66">
                  <c:v>2148.917087663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353.6808057112853</c:v>
                </c:pt>
                <c:pt idx="27">
                  <c:v>1384.5008943094872</c:v>
                </c:pt>
                <c:pt idx="28">
                  <c:v>1414.9750308475327</c:v>
                </c:pt>
                <c:pt idx="29">
                  <c:v>1444.9815533232488</c:v>
                </c:pt>
                <c:pt idx="30">
                  <c:v>1474.7775946649208</c:v>
                </c:pt>
                <c:pt idx="31">
                  <c:v>1504.7504270066618</c:v>
                </c:pt>
                <c:pt idx="32">
                  <c:v>1535.0696090842594</c:v>
                </c:pt>
                <c:pt idx="33">
                  <c:v>1565.6826416990334</c:v>
                </c:pt>
                <c:pt idx="34">
                  <c:v>1596.3920589462753</c:v>
                </c:pt>
                <c:pt idx="35">
                  <c:v>1627.0413530286241</c:v>
                </c:pt>
                <c:pt idx="36">
                  <c:v>1657.5621404085362</c:v>
                </c:pt>
                <c:pt idx="37">
                  <c:v>1687.9330134945476</c:v>
                </c:pt>
                <c:pt idx="38">
                  <c:v>1718.1740766205944</c:v>
                </c:pt>
                <c:pt idx="39">
                  <c:v>1748.2726523338201</c:v>
                </c:pt>
                <c:pt idx="40">
                  <c:v>1778.1772134338958</c:v>
                </c:pt>
                <c:pt idx="41">
                  <c:v>1807.8496748813118</c:v>
                </c:pt>
                <c:pt idx="42">
                  <c:v>1837.2969633781572</c:v>
                </c:pt>
                <c:pt idx="43">
                  <c:v>1866.5301512778233</c:v>
                </c:pt>
                <c:pt idx="44">
                  <c:v>1895.5486071702189</c:v>
                </c:pt>
                <c:pt idx="45">
                  <c:v>1924.3554810481269</c:v>
                </c:pt>
                <c:pt idx="46">
                  <c:v>1952.9362703661286</c:v>
                </c:pt>
                <c:pt idx="47">
                  <c:v>1981.2847468708251</c:v>
                </c:pt>
                <c:pt idx="48">
                  <c:v>2009.4138240303782</c:v>
                </c:pt>
                <c:pt idx="49">
                  <c:v>2037.3275736790001</c:v>
                </c:pt>
                <c:pt idx="50">
                  <c:v>2065.0289558569202</c:v>
                </c:pt>
                <c:pt idx="51">
                  <c:v>2092.5125462612482</c:v>
                </c:pt>
                <c:pt idx="52">
                  <c:v>2119.7797048469511</c:v>
                </c:pt>
                <c:pt idx="53">
                  <c:v>2146.8327063700785</c:v>
                </c:pt>
                <c:pt idx="54">
                  <c:v>2173.6731469551573</c:v>
                </c:pt>
                <c:pt idx="55">
                  <c:v>2200.3128176004857</c:v>
                </c:pt>
                <c:pt idx="56">
                  <c:v>2226.7465111860101</c:v>
                </c:pt>
                <c:pt idx="57">
                  <c:v>2252.9740744092842</c:v>
                </c:pt>
                <c:pt idx="58">
                  <c:v>2279.0016525628662</c:v>
                </c:pt>
                <c:pt idx="59">
                  <c:v>2304.8202004154591</c:v>
                </c:pt>
                <c:pt idx="60">
                  <c:v>2330.4395353457144</c:v>
                </c:pt>
                <c:pt idx="61">
                  <c:v>2355.8620727539819</c:v>
                </c:pt>
                <c:pt idx="62">
                  <c:v>2381.0888281579992</c:v>
                </c:pt>
                <c:pt idx="63">
                  <c:v>2406.1205930538754</c:v>
                </c:pt>
                <c:pt idx="64">
                  <c:v>2430.9581457751242</c:v>
                </c:pt>
                <c:pt idx="65">
                  <c:v>2455.6075273614288</c:v>
                </c:pt>
                <c:pt idx="66">
                  <c:v>2480.0650672230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54.7533539802121</c:v>
                </c:pt>
                <c:pt idx="27">
                  <c:v>1387.4678313015706</c:v>
                </c:pt>
                <c:pt idx="28">
                  <c:v>1420.3781999910898</c:v>
                </c:pt>
                <c:pt idx="29">
                  <c:v>1453.1948240579404</c:v>
                </c:pt>
                <c:pt idx="30">
                  <c:v>1486.4158989388679</c:v>
                </c:pt>
                <c:pt idx="31">
                  <c:v>1520.6208285087687</c:v>
                </c:pt>
                <c:pt idx="32">
                  <c:v>1556.1145614889249</c:v>
                </c:pt>
                <c:pt idx="33">
                  <c:v>1592.9287214446047</c:v>
                </c:pt>
                <c:pt idx="34">
                  <c:v>1630.6807069732533</c:v>
                </c:pt>
                <c:pt idx="35">
                  <c:v>1669.1645140202504</c:v>
                </c:pt>
                <c:pt idx="36">
                  <c:v>1708.3751569606359</c:v>
                </c:pt>
                <c:pt idx="37">
                  <c:v>1748.4464937362516</c:v>
                </c:pt>
                <c:pt idx="38">
                  <c:v>1789.4391734424485</c:v>
                </c:pt>
                <c:pt idx="39">
                  <c:v>1831.3098719698487</c:v>
                </c:pt>
                <c:pt idx="40">
                  <c:v>1873.9605358518738</c:v>
                </c:pt>
                <c:pt idx="41">
                  <c:v>1917.3370383794545</c:v>
                </c:pt>
                <c:pt idx="42">
                  <c:v>1961.5009438540592</c:v>
                </c:pt>
                <c:pt idx="43">
                  <c:v>2006.5199716277189</c:v>
                </c:pt>
                <c:pt idx="44">
                  <c:v>2052.4203746962417</c:v>
                </c:pt>
                <c:pt idx="45">
                  <c:v>2099.1824625393151</c:v>
                </c:pt>
                <c:pt idx="46">
                  <c:v>2146.7826255422096</c:v>
                </c:pt>
                <c:pt idx="47">
                  <c:v>2195.2167996384742</c:v>
                </c:pt>
                <c:pt idx="48">
                  <c:v>2244.5336426059712</c:v>
                </c:pt>
                <c:pt idx="49">
                  <c:v>2294.7800743059101</c:v>
                </c:pt>
                <c:pt idx="50">
                  <c:v>2345.9667522890081</c:v>
                </c:pt>
                <c:pt idx="51">
                  <c:v>2398.0894351582747</c:v>
                </c:pt>
                <c:pt idx="52">
                  <c:v>2451.1434300821447</c:v>
                </c:pt>
                <c:pt idx="53">
                  <c:v>2505.1505286326515</c:v>
                </c:pt>
                <c:pt idx="54">
                  <c:v>2560.1418946927615</c:v>
                </c:pt>
                <c:pt idx="55">
                  <c:v>2616.1502442783585</c:v>
                </c:pt>
                <c:pt idx="56">
                  <c:v>2673.1847624089532</c:v>
                </c:pt>
                <c:pt idx="57">
                  <c:v>2731.2529366064628</c:v>
                </c:pt>
                <c:pt idx="58">
                  <c:v>2790.3672341137317</c:v>
                </c:pt>
                <c:pt idx="59">
                  <c:v>2850.5517073706405</c:v>
                </c:pt>
                <c:pt idx="60">
                  <c:v>2911.8275322965123</c:v>
                </c:pt>
                <c:pt idx="61">
                  <c:v>2974.2155632226754</c:v>
                </c:pt>
                <c:pt idx="62">
                  <c:v>3037.7366659435838</c:v>
                </c:pt>
                <c:pt idx="63">
                  <c:v>3102.4063083470792</c:v>
                </c:pt>
                <c:pt idx="64">
                  <c:v>3168.2444625064636</c:v>
                </c:pt>
                <c:pt idx="65">
                  <c:v>3235.2720337607584</c:v>
                </c:pt>
                <c:pt idx="66">
                  <c:v>3303.5102470531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1</c:v>
                </c:pt>
                <c:pt idx="1">
                  <c:v>523</c:v>
                </c:pt>
                <c:pt idx="2">
                  <c:v>542</c:v>
                </c:pt>
                <c:pt idx="3">
                  <c:v>542</c:v>
                </c:pt>
                <c:pt idx="4">
                  <c:v>545</c:v>
                </c:pt>
                <c:pt idx="5">
                  <c:v>584</c:v>
                </c:pt>
                <c:pt idx="6">
                  <c:v>563</c:v>
                </c:pt>
                <c:pt idx="7">
                  <c:v>530</c:v>
                </c:pt>
                <c:pt idx="8">
                  <c:v>509</c:v>
                </c:pt>
                <c:pt idx="9">
                  <c:v>450</c:v>
                </c:pt>
                <c:pt idx="10">
                  <c:v>435</c:v>
                </c:pt>
                <c:pt idx="11">
                  <c:v>449</c:v>
                </c:pt>
                <c:pt idx="12">
                  <c:v>435</c:v>
                </c:pt>
                <c:pt idx="13">
                  <c:v>407</c:v>
                </c:pt>
                <c:pt idx="14">
                  <c:v>389</c:v>
                </c:pt>
                <c:pt idx="15">
                  <c:v>372</c:v>
                </c:pt>
                <c:pt idx="16">
                  <c:v>325</c:v>
                </c:pt>
                <c:pt idx="17">
                  <c:v>317</c:v>
                </c:pt>
                <c:pt idx="18">
                  <c:v>318</c:v>
                </c:pt>
                <c:pt idx="19">
                  <c:v>299</c:v>
                </c:pt>
                <c:pt idx="20">
                  <c:v>274</c:v>
                </c:pt>
                <c:pt idx="21">
                  <c:v>260</c:v>
                </c:pt>
                <c:pt idx="22">
                  <c:v>251</c:v>
                </c:pt>
                <c:pt idx="23">
                  <c:v>230</c:v>
                </c:pt>
                <c:pt idx="24">
                  <c:v>217</c:v>
                </c:pt>
                <c:pt idx="25">
                  <c:v>238</c:v>
                </c:pt>
                <c:pt idx="26">
                  <c:v>222</c:v>
                </c:pt>
                <c:pt idx="27">
                  <c:v>210</c:v>
                </c:pt>
                <c:pt idx="28">
                  <c:v>203</c:v>
                </c:pt>
                <c:pt idx="29">
                  <c:v>199</c:v>
                </c:pt>
                <c:pt idx="30">
                  <c:v>192</c:v>
                </c:pt>
                <c:pt idx="31">
                  <c:v>194</c:v>
                </c:pt>
                <c:pt idx="32">
                  <c:v>211</c:v>
                </c:pt>
                <c:pt idx="33">
                  <c:v>195</c:v>
                </c:pt>
                <c:pt idx="34">
                  <c:v>188</c:v>
                </c:pt>
                <c:pt idx="35">
                  <c:v>179</c:v>
                </c:pt>
                <c:pt idx="36">
                  <c:v>178</c:v>
                </c:pt>
                <c:pt idx="37">
                  <c:v>152</c:v>
                </c:pt>
                <c:pt idx="38">
                  <c:v>140</c:v>
                </c:pt>
                <c:pt idx="39">
                  <c:v>148</c:v>
                </c:pt>
                <c:pt idx="40">
                  <c:v>134</c:v>
                </c:pt>
                <c:pt idx="41">
                  <c:v>123</c:v>
                </c:pt>
                <c:pt idx="42">
                  <c:v>107</c:v>
                </c:pt>
                <c:pt idx="43">
                  <c:v>103</c:v>
                </c:pt>
                <c:pt idx="44">
                  <c:v>88</c:v>
                </c:pt>
                <c:pt idx="45">
                  <c:v>86</c:v>
                </c:pt>
                <c:pt idx="46">
                  <c:v>87</c:v>
                </c:pt>
                <c:pt idx="47">
                  <c:v>84</c:v>
                </c:pt>
                <c:pt idx="48">
                  <c:v>77</c:v>
                </c:pt>
                <c:pt idx="49">
                  <c:v>72</c:v>
                </c:pt>
                <c:pt idx="50">
                  <c:v>64</c:v>
                </c:pt>
                <c:pt idx="51">
                  <c:v>57</c:v>
                </c:pt>
                <c:pt idx="52">
                  <c:v>53</c:v>
                </c:pt>
                <c:pt idx="53">
                  <c:v>53</c:v>
                </c:pt>
                <c:pt idx="54">
                  <c:v>43</c:v>
                </c:pt>
                <c:pt idx="55">
                  <c:v>35</c:v>
                </c:pt>
                <c:pt idx="56">
                  <c:v>29</c:v>
                </c:pt>
                <c:pt idx="57">
                  <c:v>19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6.55455525024345</c:v>
                </c:pt>
                <c:pt idx="27">
                  <c:v>217.54444503233626</c:v>
                </c:pt>
                <c:pt idx="28">
                  <c:v>208.93850112094171</c:v>
                </c:pt>
                <c:pt idx="29">
                  <c:v>200.75422365638565</c:v>
                </c:pt>
                <c:pt idx="30">
                  <c:v>193.12302148750683</c:v>
                </c:pt>
                <c:pt idx="31">
                  <c:v>186.13707832654518</c:v>
                </c:pt>
                <c:pt idx="32">
                  <c:v>179.57413459747039</c:v>
                </c:pt>
                <c:pt idx="33">
                  <c:v>173.11376530690009</c:v>
                </c:pt>
                <c:pt idx="34">
                  <c:v>166.8237252307361</c:v>
                </c:pt>
                <c:pt idx="35">
                  <c:v>160.821685947308</c:v>
                </c:pt>
                <c:pt idx="36">
                  <c:v>155.09779300879495</c:v>
                </c:pt>
                <c:pt idx="37">
                  <c:v>149.61251658992711</c:v>
                </c:pt>
                <c:pt idx="38">
                  <c:v>144.40084003053727</c:v>
                </c:pt>
                <c:pt idx="39">
                  <c:v>139.26244556029826</c:v>
                </c:pt>
                <c:pt idx="40">
                  <c:v>134.08294871774154</c:v>
                </c:pt>
                <c:pt idx="41">
                  <c:v>128.97984458048546</c:v>
                </c:pt>
                <c:pt idx="42">
                  <c:v>124.01947576206257</c:v>
                </c:pt>
                <c:pt idx="43">
                  <c:v>119.20293800267297</c:v>
                </c:pt>
                <c:pt idx="44">
                  <c:v>114.52587490925904</c:v>
                </c:pt>
                <c:pt idx="45">
                  <c:v>110.00102327020412</c:v>
                </c:pt>
                <c:pt idx="46">
                  <c:v>105.5686626409877</c:v>
                </c:pt>
                <c:pt idx="47">
                  <c:v>101.24344297904858</c:v>
                </c:pt>
                <c:pt idx="48">
                  <c:v>97.059598916310193</c:v>
                </c:pt>
                <c:pt idx="49">
                  <c:v>92.999493608906789</c:v>
                </c:pt>
                <c:pt idx="50">
                  <c:v>89.074158324796684</c:v>
                </c:pt>
                <c:pt idx="51">
                  <c:v>85.297404311607949</c:v>
                </c:pt>
                <c:pt idx="52">
                  <c:v>81.66552460541655</c:v>
                </c:pt>
                <c:pt idx="53">
                  <c:v>78.166351990169801</c:v>
                </c:pt>
                <c:pt idx="54">
                  <c:v>74.809694716263721</c:v>
                </c:pt>
                <c:pt idx="55">
                  <c:v>71.589354377778307</c:v>
                </c:pt>
                <c:pt idx="56">
                  <c:v>68.505693210746259</c:v>
                </c:pt>
                <c:pt idx="57">
                  <c:v>65.547547132871159</c:v>
                </c:pt>
                <c:pt idx="58">
                  <c:v>62.717998740303813</c:v>
                </c:pt>
                <c:pt idx="59">
                  <c:v>60.030831050287304</c:v>
                </c:pt>
                <c:pt idx="60">
                  <c:v>57.466625817727845</c:v>
                </c:pt>
                <c:pt idx="61">
                  <c:v>55.005406480415893</c:v>
                </c:pt>
                <c:pt idx="62">
                  <c:v>52.66602003720898</c:v>
                </c:pt>
                <c:pt idx="63">
                  <c:v>50.434734966138038</c:v>
                </c:pt>
                <c:pt idx="64">
                  <c:v>48.308085000555494</c:v>
                </c:pt>
                <c:pt idx="65">
                  <c:v>46.286876877912434</c:v>
                </c:pt>
                <c:pt idx="66">
                  <c:v>44.361484694390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6.91109995500062</c:v>
                </c:pt>
                <c:pt idx="27">
                  <c:v>218.51799455624143</c:v>
                </c:pt>
                <c:pt idx="28">
                  <c:v>210.68743902176766</c:v>
                </c:pt>
                <c:pt idx="29">
                  <c:v>203.369232679546</c:v>
                </c:pt>
                <c:pt idx="30">
                  <c:v>196.72178996240223</c:v>
                </c:pt>
                <c:pt idx="31">
                  <c:v>190.85959088284267</c:v>
                </c:pt>
                <c:pt idx="32">
                  <c:v>185.57138647157296</c:v>
                </c:pt>
                <c:pt idx="33">
                  <c:v>180.53700339175248</c:v>
                </c:pt>
                <c:pt idx="34">
                  <c:v>175.75743629256493</c:v>
                </c:pt>
                <c:pt idx="35">
                  <c:v>171.31287804721549</c:v>
                </c:pt>
                <c:pt idx="36">
                  <c:v>167.17514930982983</c:v>
                </c:pt>
                <c:pt idx="37">
                  <c:v>163.30894935519382</c:v>
                </c:pt>
                <c:pt idx="38">
                  <c:v>159.73882842937093</c:v>
                </c:pt>
                <c:pt idx="39">
                  <c:v>156.24491678474109</c:v>
                </c:pt>
                <c:pt idx="40">
                  <c:v>152.68298770996114</c:v>
                </c:pt>
                <c:pt idx="41">
                  <c:v>149.14325268027829</c:v>
                </c:pt>
                <c:pt idx="42">
                  <c:v>145.68771690580903</c:v>
                </c:pt>
                <c:pt idx="43">
                  <c:v>142.31514810997851</c:v>
                </c:pt>
                <c:pt idx="44">
                  <c:v>139.01540408731285</c:v>
                </c:pt>
                <c:pt idx="45">
                  <c:v>135.79333736123888</c:v>
                </c:pt>
                <c:pt idx="46">
                  <c:v>132.58665915784616</c:v>
                </c:pt>
                <c:pt idx="47">
                  <c:v>129.40331335866236</c:v>
                </c:pt>
                <c:pt idx="48">
                  <c:v>126.26895713506724</c:v>
                </c:pt>
                <c:pt idx="49">
                  <c:v>123.17399699415839</c:v>
                </c:pt>
                <c:pt idx="50">
                  <c:v>120.1273230621087</c:v>
                </c:pt>
                <c:pt idx="51">
                  <c:v>117.14613227339365</c:v>
                </c:pt>
                <c:pt idx="52">
                  <c:v>114.2275881732732</c:v>
                </c:pt>
                <c:pt idx="53">
                  <c:v>111.36063557843976</c:v>
                </c:pt>
                <c:pt idx="54">
                  <c:v>108.55674161130986</c:v>
                </c:pt>
                <c:pt idx="55">
                  <c:v>105.81438464467345</c:v>
                </c:pt>
                <c:pt idx="56">
                  <c:v>103.13696046198515</c:v>
                </c:pt>
                <c:pt idx="57">
                  <c:v>100.51792547080993</c:v>
                </c:pt>
                <c:pt idx="58">
                  <c:v>97.96235008073306</c:v>
                </c:pt>
                <c:pt idx="59">
                  <c:v>95.488386957112695</c:v>
                </c:pt>
                <c:pt idx="60">
                  <c:v>93.078817039130612</c:v>
                </c:pt>
                <c:pt idx="61">
                  <c:v>90.720357974099016</c:v>
                </c:pt>
                <c:pt idx="62">
                  <c:v>88.431207036630909</c:v>
                </c:pt>
                <c:pt idx="63">
                  <c:v>86.203664903532299</c:v>
                </c:pt>
                <c:pt idx="64">
                  <c:v>84.036007133834431</c:v>
                </c:pt>
                <c:pt idx="65">
                  <c:v>81.932489481473425</c:v>
                </c:pt>
                <c:pt idx="66">
                  <c:v>79.884337594273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7.26494356350963</c:v>
                </c:pt>
                <c:pt idx="27">
                  <c:v>219.48834312643984</c:v>
                </c:pt>
                <c:pt idx="28">
                  <c:v>212.43304679413632</c:v>
                </c:pt>
                <c:pt idx="29">
                  <c:v>205.98083152202349</c:v>
                </c:pt>
                <c:pt idx="30">
                  <c:v>200.33329230920987</c:v>
                </c:pt>
                <c:pt idx="31">
                  <c:v>195.6410133341513</c:v>
                </c:pt>
                <c:pt idx="32">
                  <c:v>191.71462473962742</c:v>
                </c:pt>
                <c:pt idx="33">
                  <c:v>188.23675021534837</c:v>
                </c:pt>
                <c:pt idx="34">
                  <c:v>185.13462902420491</c:v>
                </c:pt>
                <c:pt idx="35">
                  <c:v>182.44745788143598</c:v>
                </c:pt>
                <c:pt idx="36">
                  <c:v>180.14456889305114</c:v>
                </c:pt>
                <c:pt idx="37">
                  <c:v>178.20834723162457</c:v>
                </c:pt>
                <c:pt idx="38">
                  <c:v>176.64923329643244</c:v>
                </c:pt>
                <c:pt idx="39">
                  <c:v>175.22339262714499</c:v>
                </c:pt>
                <c:pt idx="40">
                  <c:v>173.76257854960772</c:v>
                </c:pt>
                <c:pt idx="41">
                  <c:v>172.3263009188081</c:v>
                </c:pt>
                <c:pt idx="42">
                  <c:v>170.96444417853317</c:v>
                </c:pt>
                <c:pt idx="43">
                  <c:v>169.68086423568712</c:v>
                </c:pt>
                <c:pt idx="44">
                  <c:v>168.4664155634872</c:v>
                </c:pt>
                <c:pt idx="45">
                  <c:v>167.31085320124777</c:v>
                </c:pt>
                <c:pt idx="46">
                  <c:v>166.13161068286948</c:v>
                </c:pt>
                <c:pt idx="47">
                  <c:v>164.92920949543463</c:v>
                </c:pt>
                <c:pt idx="48">
                  <c:v>163.7311451052075</c:v>
                </c:pt>
                <c:pt idx="49">
                  <c:v>162.52175078093788</c:v>
                </c:pt>
                <c:pt idx="50">
                  <c:v>161.31359476276322</c:v>
                </c:pt>
                <c:pt idx="51">
                  <c:v>160.11714273089868</c:v>
                </c:pt>
                <c:pt idx="52">
                  <c:v>158.92817528529872</c:v>
                </c:pt>
                <c:pt idx="53">
                  <c:v>157.73132132417368</c:v>
                </c:pt>
                <c:pt idx="54">
                  <c:v>156.53684192326747</c:v>
                </c:pt>
                <c:pt idx="55">
                  <c:v>155.35063296485745</c:v>
                </c:pt>
                <c:pt idx="56">
                  <c:v>154.17241969100488</c:v>
                </c:pt>
                <c:pt idx="57">
                  <c:v>152.994861081484</c:v>
                </c:pt>
                <c:pt idx="58">
                  <c:v>151.8275852765511</c:v>
                </c:pt>
                <c:pt idx="59">
                  <c:v>150.68115598270884</c:v>
                </c:pt>
                <c:pt idx="60">
                  <c:v>149.54544074042516</c:v>
                </c:pt>
                <c:pt idx="61">
                  <c:v>148.40595061663242</c:v>
                </c:pt>
                <c:pt idx="62">
                  <c:v>147.283158317583</c:v>
                </c:pt>
                <c:pt idx="63">
                  <c:v>146.16951930504439</c:v>
                </c:pt>
                <c:pt idx="64">
                  <c:v>145.06342319473845</c:v>
                </c:pt>
                <c:pt idx="65">
                  <c:v>143.97442405414171</c:v>
                </c:pt>
                <c:pt idx="66">
                  <c:v>142.89185403227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7.79705952439718</c:v>
                </c:pt>
                <c:pt idx="27">
                  <c:v>220.94816755483896</c:v>
                </c:pt>
                <c:pt idx="28">
                  <c:v>215.05767501874863</c:v>
                </c:pt>
                <c:pt idx="29">
                  <c:v>209.90486548139177</c:v>
                </c:pt>
                <c:pt idx="30">
                  <c:v>205.79382222647124</c:v>
                </c:pt>
                <c:pt idx="31">
                  <c:v>202.95107999373727</c:v>
                </c:pt>
                <c:pt idx="32">
                  <c:v>201.23270005050935</c:v>
                </c:pt>
                <c:pt idx="33">
                  <c:v>200.3368783547526</c:v>
                </c:pt>
                <c:pt idx="34">
                  <c:v>200.06847980275643</c:v>
                </c:pt>
                <c:pt idx="35">
                  <c:v>200.41610905546776</c:v>
                </c:pt>
                <c:pt idx="36">
                  <c:v>201.3601285595237</c:v>
                </c:pt>
                <c:pt idx="37">
                  <c:v>202.93890039935195</c:v>
                </c:pt>
                <c:pt idx="38">
                  <c:v>205.16057614006723</c:v>
                </c:pt>
                <c:pt idx="39">
                  <c:v>207.74303413263272</c:v>
                </c:pt>
                <c:pt idx="40">
                  <c:v>210.46704882352341</c:v>
                </c:pt>
                <c:pt idx="41">
                  <c:v>213.35530050397412</c:v>
                </c:pt>
                <c:pt idx="42">
                  <c:v>216.46475831533991</c:v>
                </c:pt>
                <c:pt idx="43">
                  <c:v>219.81698378615437</c:v>
                </c:pt>
                <c:pt idx="44">
                  <c:v>223.4027514508908</c:v>
                </c:pt>
                <c:pt idx="45">
                  <c:v>227.18282894735336</c:v>
                </c:pt>
                <c:pt idx="46">
                  <c:v>231.05130189689427</c:v>
                </c:pt>
                <c:pt idx="47">
                  <c:v>234.99248230560221</c:v>
                </c:pt>
                <c:pt idx="48">
                  <c:v>239.03772620501661</c:v>
                </c:pt>
                <c:pt idx="49">
                  <c:v>243.18427517544953</c:v>
                </c:pt>
                <c:pt idx="50">
                  <c:v>247.44022623922075</c:v>
                </c:pt>
                <c:pt idx="51">
                  <c:v>251.80580455311366</c:v>
                </c:pt>
                <c:pt idx="52">
                  <c:v>256.26121942975806</c:v>
                </c:pt>
                <c:pt idx="53">
                  <c:v>260.79032058879966</c:v>
                </c:pt>
                <c:pt idx="54">
                  <c:v>265.40981378199638</c:v>
                </c:pt>
                <c:pt idx="55">
                  <c:v>270.12841892369528</c:v>
                </c:pt>
                <c:pt idx="56">
                  <c:v>274.94582023035366</c:v>
                </c:pt>
                <c:pt idx="57">
                  <c:v>279.84992369667816</c:v>
                </c:pt>
                <c:pt idx="58">
                  <c:v>284.84426109364279</c:v>
                </c:pt>
                <c:pt idx="59">
                  <c:v>289.94754056617035</c:v>
                </c:pt>
                <c:pt idx="60">
                  <c:v>295.14815784654309</c:v>
                </c:pt>
                <c:pt idx="61">
                  <c:v>300.4333844480318</c:v>
                </c:pt>
                <c:pt idx="62">
                  <c:v>305.82560266795338</c:v>
                </c:pt>
                <c:pt idx="63">
                  <c:v>311.31618527429436</c:v>
                </c:pt>
                <c:pt idx="64">
                  <c:v>316.90475271239893</c:v>
                </c:pt>
                <c:pt idx="65">
                  <c:v>322.60017873063072</c:v>
                </c:pt>
                <c:pt idx="66">
                  <c:v>328.39631688542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9</c:v>
                </c:pt>
                <c:pt idx="1">
                  <c:v>383</c:v>
                </c:pt>
                <c:pt idx="2">
                  <c:v>385</c:v>
                </c:pt>
                <c:pt idx="3">
                  <c:v>379</c:v>
                </c:pt>
                <c:pt idx="4">
                  <c:v>361</c:v>
                </c:pt>
                <c:pt idx="5">
                  <c:v>378</c:v>
                </c:pt>
                <c:pt idx="6">
                  <c:v>355</c:v>
                </c:pt>
                <c:pt idx="7">
                  <c:v>305</c:v>
                </c:pt>
                <c:pt idx="8">
                  <c:v>291</c:v>
                </c:pt>
                <c:pt idx="9">
                  <c:v>248</c:v>
                </c:pt>
                <c:pt idx="10">
                  <c:v>248</c:v>
                </c:pt>
                <c:pt idx="11">
                  <c:v>249</c:v>
                </c:pt>
                <c:pt idx="12">
                  <c:v>233</c:v>
                </c:pt>
                <c:pt idx="13">
                  <c:v>210</c:v>
                </c:pt>
                <c:pt idx="14">
                  <c:v>195</c:v>
                </c:pt>
                <c:pt idx="15">
                  <c:v>194</c:v>
                </c:pt>
                <c:pt idx="16">
                  <c:v>179</c:v>
                </c:pt>
                <c:pt idx="17">
                  <c:v>181</c:v>
                </c:pt>
                <c:pt idx="18">
                  <c:v>177</c:v>
                </c:pt>
                <c:pt idx="19">
                  <c:v>183</c:v>
                </c:pt>
                <c:pt idx="20">
                  <c:v>170</c:v>
                </c:pt>
                <c:pt idx="21">
                  <c:v>157</c:v>
                </c:pt>
                <c:pt idx="22">
                  <c:v>147</c:v>
                </c:pt>
                <c:pt idx="23">
                  <c:v>142</c:v>
                </c:pt>
                <c:pt idx="24">
                  <c:v>142</c:v>
                </c:pt>
                <c:pt idx="25">
                  <c:v>148</c:v>
                </c:pt>
                <c:pt idx="26">
                  <c:v>144</c:v>
                </c:pt>
                <c:pt idx="27">
                  <c:v>132</c:v>
                </c:pt>
                <c:pt idx="28">
                  <c:v>123</c:v>
                </c:pt>
                <c:pt idx="29">
                  <c:v>110</c:v>
                </c:pt>
                <c:pt idx="30">
                  <c:v>102</c:v>
                </c:pt>
                <c:pt idx="31">
                  <c:v>105</c:v>
                </c:pt>
                <c:pt idx="32">
                  <c:v>112</c:v>
                </c:pt>
                <c:pt idx="33">
                  <c:v>117</c:v>
                </c:pt>
                <c:pt idx="34">
                  <c:v>105</c:v>
                </c:pt>
                <c:pt idx="35">
                  <c:v>100</c:v>
                </c:pt>
                <c:pt idx="36">
                  <c:v>95</c:v>
                </c:pt>
                <c:pt idx="37">
                  <c:v>78</c:v>
                </c:pt>
                <c:pt idx="38">
                  <c:v>73</c:v>
                </c:pt>
                <c:pt idx="39">
                  <c:v>79</c:v>
                </c:pt>
                <c:pt idx="40">
                  <c:v>68</c:v>
                </c:pt>
                <c:pt idx="41">
                  <c:v>57</c:v>
                </c:pt>
                <c:pt idx="42">
                  <c:v>49</c:v>
                </c:pt>
                <c:pt idx="43">
                  <c:v>46</c:v>
                </c:pt>
                <c:pt idx="44">
                  <c:v>43</c:v>
                </c:pt>
                <c:pt idx="45">
                  <c:v>44</c:v>
                </c:pt>
                <c:pt idx="46">
                  <c:v>47</c:v>
                </c:pt>
                <c:pt idx="47">
                  <c:v>37</c:v>
                </c:pt>
                <c:pt idx="48">
                  <c:v>37</c:v>
                </c:pt>
                <c:pt idx="49">
                  <c:v>36</c:v>
                </c:pt>
                <c:pt idx="50">
                  <c:v>31</c:v>
                </c:pt>
                <c:pt idx="51">
                  <c:v>28</c:v>
                </c:pt>
                <c:pt idx="52">
                  <c:v>27</c:v>
                </c:pt>
                <c:pt idx="53">
                  <c:v>30</c:v>
                </c:pt>
                <c:pt idx="54">
                  <c:v>26</c:v>
                </c:pt>
                <c:pt idx="55">
                  <c:v>25</c:v>
                </c:pt>
                <c:pt idx="56">
                  <c:v>27</c:v>
                </c:pt>
                <c:pt idx="57">
                  <c:v>2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2.92351165067473</c:v>
                </c:pt>
                <c:pt idx="27">
                  <c:v>137.25496544665299</c:v>
                </c:pt>
                <c:pt idx="28">
                  <c:v>131.8416922118106</c:v>
                </c:pt>
                <c:pt idx="29">
                  <c:v>126.69732778466496</c:v>
                </c:pt>
                <c:pt idx="30">
                  <c:v>121.90136788463599</c:v>
                </c:pt>
                <c:pt idx="31">
                  <c:v>117.50476987213665</c:v>
                </c:pt>
                <c:pt idx="32">
                  <c:v>113.36958836807221</c:v>
                </c:pt>
                <c:pt idx="33">
                  <c:v>109.29451436396522</c:v>
                </c:pt>
                <c:pt idx="34">
                  <c:v>105.32348404577169</c:v>
                </c:pt>
                <c:pt idx="35">
                  <c:v>101.53111217292758</c:v>
                </c:pt>
                <c:pt idx="36">
                  <c:v>97.915306816038594</c:v>
                </c:pt>
                <c:pt idx="37">
                  <c:v>94.453653944794866</c:v>
                </c:pt>
                <c:pt idx="38">
                  <c:v>91.166988522594565</c:v>
                </c:pt>
                <c:pt idx="39">
                  <c:v>87.929589342485599</c:v>
                </c:pt>
                <c:pt idx="40">
                  <c:v>84.667206139932887</c:v>
                </c:pt>
                <c:pt idx="41">
                  <c:v>81.455085955499527</c:v>
                </c:pt>
                <c:pt idx="42">
                  <c:v>78.330669191179197</c:v>
                </c:pt>
                <c:pt idx="43">
                  <c:v>75.299812628299094</c:v>
                </c:pt>
                <c:pt idx="44">
                  <c:v>72.3582521520635</c:v>
                </c:pt>
                <c:pt idx="45">
                  <c:v>69.513382571039102</c:v>
                </c:pt>
                <c:pt idx="46">
                  <c:v>66.72847676214073</c:v>
                </c:pt>
                <c:pt idx="47">
                  <c:v>64.011171818173977</c:v>
                </c:pt>
                <c:pt idx="48">
                  <c:v>61.382823008133698</c:v>
                </c:pt>
                <c:pt idx="49">
                  <c:v>58.832143004245701</c:v>
                </c:pt>
                <c:pt idx="50">
                  <c:v>56.366555821673145</c:v>
                </c:pt>
                <c:pt idx="51">
                  <c:v>53.994851961267258</c:v>
                </c:pt>
                <c:pt idx="52">
                  <c:v>51.713957445327694</c:v>
                </c:pt>
                <c:pt idx="53">
                  <c:v>49.5177841720256</c:v>
                </c:pt>
                <c:pt idx="54">
                  <c:v>47.411447551922265</c:v>
                </c:pt>
                <c:pt idx="55">
                  <c:v>45.390455674367324</c:v>
                </c:pt>
                <c:pt idx="56">
                  <c:v>43.455234326232805</c:v>
                </c:pt>
                <c:pt idx="57">
                  <c:v>41.598685853093478</c:v>
                </c:pt>
                <c:pt idx="58">
                  <c:v>39.823608882646909</c:v>
                </c:pt>
                <c:pt idx="59">
                  <c:v>38.137653360716527</c:v>
                </c:pt>
                <c:pt idx="60">
                  <c:v>36.528188612205909</c:v>
                </c:pt>
                <c:pt idx="61">
                  <c:v>34.984738431583573</c:v>
                </c:pt>
                <c:pt idx="62">
                  <c:v>33.51737606366018</c:v>
                </c:pt>
                <c:pt idx="63">
                  <c:v>32.117419780941951</c:v>
                </c:pt>
                <c:pt idx="64">
                  <c:v>30.783594097110729</c:v>
                </c:pt>
                <c:pt idx="65">
                  <c:v>29.515313768143443</c:v>
                </c:pt>
                <c:pt idx="66">
                  <c:v>28.307188693533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3.14957848699186</c:v>
                </c:pt>
                <c:pt idx="27">
                  <c:v>137.87213724920454</c:v>
                </c:pt>
                <c:pt idx="28">
                  <c:v>132.9498732303835</c:v>
                </c:pt>
                <c:pt idx="29">
                  <c:v>128.35328697886408</c:v>
                </c:pt>
                <c:pt idx="30">
                  <c:v>124.17875099975441</c:v>
                </c:pt>
                <c:pt idx="31">
                  <c:v>120.4911009820151</c:v>
                </c:pt>
                <c:pt idx="32">
                  <c:v>117.15926079260345</c:v>
                </c:pt>
                <c:pt idx="33">
                  <c:v>113.98201271900004</c:v>
                </c:pt>
                <c:pt idx="34">
                  <c:v>110.96111752538047</c:v>
                </c:pt>
                <c:pt idx="35">
                  <c:v>108.14760285233265</c:v>
                </c:pt>
                <c:pt idx="36">
                  <c:v>105.52806442670963</c:v>
                </c:pt>
                <c:pt idx="37">
                  <c:v>103.08299736688463</c:v>
                </c:pt>
                <c:pt idx="38">
                  <c:v>100.82682712896272</c:v>
                </c:pt>
                <c:pt idx="39">
                  <c:v>98.62159411498034</c:v>
                </c:pt>
                <c:pt idx="40">
                  <c:v>96.374249202112111</c:v>
                </c:pt>
                <c:pt idx="41">
                  <c:v>94.142866156635975</c:v>
                </c:pt>
                <c:pt idx="42">
                  <c:v>91.962266127062549</c:v>
                </c:pt>
                <c:pt idx="43">
                  <c:v>89.836951610831562</c:v>
                </c:pt>
                <c:pt idx="44">
                  <c:v>87.759081014908546</c:v>
                </c:pt>
                <c:pt idx="45">
                  <c:v>85.731128018590894</c:v>
                </c:pt>
                <c:pt idx="46">
                  <c:v>83.714743483181778</c:v>
                </c:pt>
                <c:pt idx="47">
                  <c:v>81.713345569476573</c:v>
                </c:pt>
                <c:pt idx="48">
                  <c:v>79.74284736502598</c:v>
                </c:pt>
                <c:pt idx="49">
                  <c:v>77.797083568060842</c:v>
                </c:pt>
                <c:pt idx="50">
                  <c:v>75.882134702045065</c:v>
                </c:pt>
                <c:pt idx="51">
                  <c:v>74.008933572410029</c:v>
                </c:pt>
                <c:pt idx="52">
                  <c:v>72.174942279360224</c:v>
                </c:pt>
                <c:pt idx="53">
                  <c:v>70.374768682704371</c:v>
                </c:pt>
                <c:pt idx="54">
                  <c:v>68.614564574504953</c:v>
                </c:pt>
                <c:pt idx="55">
                  <c:v>66.892792561884079</c:v>
                </c:pt>
                <c:pt idx="56">
                  <c:v>65.211781064397982</c:v>
                </c:pt>
                <c:pt idx="57">
                  <c:v>63.567338287970856</c:v>
                </c:pt>
                <c:pt idx="58">
                  <c:v>61.963499417373967</c:v>
                </c:pt>
                <c:pt idx="59">
                  <c:v>60.410674059098554</c:v>
                </c:pt>
                <c:pt idx="60">
                  <c:v>58.897602111166513</c:v>
                </c:pt>
                <c:pt idx="61">
                  <c:v>57.418020732255627</c:v>
                </c:pt>
                <c:pt idx="62">
                  <c:v>55.981567592395521</c:v>
                </c:pt>
                <c:pt idx="63">
                  <c:v>54.583353448434814</c:v>
                </c:pt>
                <c:pt idx="64">
                  <c:v>53.223192672730619</c:v>
                </c:pt>
                <c:pt idx="65">
                  <c:v>51.902675145438032</c:v>
                </c:pt>
                <c:pt idx="66">
                  <c:v>50.616929536422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3.37393269576114</c:v>
                </c:pt>
                <c:pt idx="27">
                  <c:v>138.48728029582588</c:v>
                </c:pt>
                <c:pt idx="28">
                  <c:v>134.05594707990576</c:v>
                </c:pt>
                <c:pt idx="29">
                  <c:v>130.00709162306848</c:v>
                </c:pt>
                <c:pt idx="30">
                  <c:v>126.46422007973135</c:v>
                </c:pt>
                <c:pt idx="31">
                  <c:v>123.51479632994858</c:v>
                </c:pt>
                <c:pt idx="32">
                  <c:v>121.04147882452335</c:v>
                </c:pt>
                <c:pt idx="33">
                  <c:v>118.84471873338155</c:v>
                </c:pt>
                <c:pt idx="34">
                  <c:v>116.87961405798873</c:v>
                </c:pt>
                <c:pt idx="35">
                  <c:v>115.17131903542517</c:v>
                </c:pt>
                <c:pt idx="36">
                  <c:v>113.70510827532632</c:v>
                </c:pt>
                <c:pt idx="37">
                  <c:v>112.47287103643151</c:v>
                </c:pt>
                <c:pt idx="38">
                  <c:v>111.48024488049649</c:v>
                </c:pt>
                <c:pt idx="39">
                  <c:v>110.57420088140969</c:v>
                </c:pt>
                <c:pt idx="40">
                  <c:v>109.64657142621573</c:v>
                </c:pt>
                <c:pt idx="41">
                  <c:v>108.73608274139647</c:v>
                </c:pt>
                <c:pt idx="42">
                  <c:v>107.86999472084524</c:v>
                </c:pt>
                <c:pt idx="43">
                  <c:v>107.05616176707282</c:v>
                </c:pt>
                <c:pt idx="44">
                  <c:v>106.28747422709984</c:v>
                </c:pt>
                <c:pt idx="45">
                  <c:v>105.55691348784984</c:v>
                </c:pt>
                <c:pt idx="46">
                  <c:v>104.81328872861431</c:v>
                </c:pt>
                <c:pt idx="47">
                  <c:v>104.05536522158292</c:v>
                </c:pt>
                <c:pt idx="48">
                  <c:v>103.30024927191798</c:v>
                </c:pt>
                <c:pt idx="49">
                  <c:v>102.53797004201598</c:v>
                </c:pt>
                <c:pt idx="50">
                  <c:v>101.77697235292985</c:v>
                </c:pt>
                <c:pt idx="51">
                  <c:v>101.02394823223543</c:v>
                </c:pt>
                <c:pt idx="52">
                  <c:v>100.27548264139992</c:v>
                </c:pt>
                <c:pt idx="53">
                  <c:v>99.523464641954035</c:v>
                </c:pt>
                <c:pt idx="54">
                  <c:v>98.773288761883123</c:v>
                </c:pt>
                <c:pt idx="55">
                  <c:v>98.028129811793434</c:v>
                </c:pt>
                <c:pt idx="56">
                  <c:v>97.287990588507782</c:v>
                </c:pt>
                <c:pt idx="57">
                  <c:v>96.548160535806986</c:v>
                </c:pt>
                <c:pt idx="58">
                  <c:v>95.815563848862752</c:v>
                </c:pt>
                <c:pt idx="59">
                  <c:v>95.0958022674684</c:v>
                </c:pt>
                <c:pt idx="60">
                  <c:v>94.382101195482463</c:v>
                </c:pt>
                <c:pt idx="61">
                  <c:v>93.667424818723234</c:v>
                </c:pt>
                <c:pt idx="62">
                  <c:v>92.962841777584515</c:v>
                </c:pt>
                <c:pt idx="63">
                  <c:v>92.263549089906377</c:v>
                </c:pt>
                <c:pt idx="64">
                  <c:v>91.569433216252563</c:v>
                </c:pt>
                <c:pt idx="65">
                  <c:v>90.885446679036264</c:v>
                </c:pt>
                <c:pt idx="66">
                  <c:v>90.20551311122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3.71132032268892</c:v>
                </c:pt>
                <c:pt idx="27">
                  <c:v>139.41272187127083</c:v>
                </c:pt>
                <c:pt idx="28">
                  <c:v>135.71899650841863</c:v>
                </c:pt>
                <c:pt idx="29">
                  <c:v>132.49199741138813</c:v>
                </c:pt>
                <c:pt idx="30">
                  <c:v>129.91984720632706</c:v>
                </c:pt>
                <c:pt idx="31">
                  <c:v>128.13776019678403</c:v>
                </c:pt>
                <c:pt idx="32">
                  <c:v>127.05694251252592</c:v>
                </c:pt>
                <c:pt idx="33">
                  <c:v>126.48749644431851</c:v>
                </c:pt>
                <c:pt idx="34">
                  <c:v>126.30699186597793</c:v>
                </c:pt>
                <c:pt idx="35">
                  <c:v>126.50857546220655</c:v>
                </c:pt>
                <c:pt idx="36">
                  <c:v>127.08480467083353</c:v>
                </c:pt>
                <c:pt idx="37">
                  <c:v>128.06322364581109</c:v>
                </c:pt>
                <c:pt idx="38">
                  <c:v>129.44816561947056</c:v>
                </c:pt>
                <c:pt idx="39">
                  <c:v>131.06242780573649</c:v>
                </c:pt>
                <c:pt idx="40">
                  <c:v>132.76561548627291</c:v>
                </c:pt>
                <c:pt idx="41">
                  <c:v>134.57323651470239</c:v>
                </c:pt>
                <c:pt idx="42">
                  <c:v>136.51719160224164</c:v>
                </c:pt>
                <c:pt idx="43">
                  <c:v>138.61670805364477</c:v>
                </c:pt>
                <c:pt idx="44">
                  <c:v>140.86472427112341</c:v>
                </c:pt>
                <c:pt idx="45">
                  <c:v>143.235929566952</c:v>
                </c:pt>
                <c:pt idx="46">
                  <c:v>145.66433006181393</c:v>
                </c:pt>
                <c:pt idx="47">
                  <c:v>148.13848092843216</c:v>
                </c:pt>
                <c:pt idx="48">
                  <c:v>150.67796507904006</c:v>
                </c:pt>
                <c:pt idx="49">
                  <c:v>153.28106558330029</c:v>
                </c:pt>
                <c:pt idx="50">
                  <c:v>155.95343421142348</c:v>
                </c:pt>
                <c:pt idx="51">
                  <c:v>158.69529375159723</c:v>
                </c:pt>
                <c:pt idx="52">
                  <c:v>161.4933587857827</c:v>
                </c:pt>
                <c:pt idx="53">
                  <c:v>164.33904630566963</c:v>
                </c:pt>
                <c:pt idx="54">
                  <c:v>167.24186086993876</c:v>
                </c:pt>
                <c:pt idx="55">
                  <c:v>170.20678461571498</c:v>
                </c:pt>
                <c:pt idx="56">
                  <c:v>173.2337968659325</c:v>
                </c:pt>
                <c:pt idx="57">
                  <c:v>176.3151690379259</c:v>
                </c:pt>
                <c:pt idx="58">
                  <c:v>179.45395615033507</c:v>
                </c:pt>
                <c:pt idx="59">
                  <c:v>182.66094442758617</c:v>
                </c:pt>
                <c:pt idx="60">
                  <c:v>185.92842769440352</c:v>
                </c:pt>
                <c:pt idx="61">
                  <c:v>189.25046636411477</c:v>
                </c:pt>
                <c:pt idx="62">
                  <c:v>192.63933442487939</c:v>
                </c:pt>
                <c:pt idx="63">
                  <c:v>196.08952165606917</c:v>
                </c:pt>
                <c:pt idx="64">
                  <c:v>199.60169384899169</c:v>
                </c:pt>
                <c:pt idx="65">
                  <c:v>203.1803829283725</c:v>
                </c:pt>
                <c:pt idx="66">
                  <c:v>206.82236979362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05</c:v>
                </c:pt>
                <c:pt idx="1">
                  <c:v>705</c:v>
                </c:pt>
                <c:pt idx="2">
                  <c:v>705</c:v>
                </c:pt>
                <c:pt idx="3">
                  <c:v>705</c:v>
                </c:pt>
                <c:pt idx="4">
                  <c:v>705</c:v>
                </c:pt>
                <c:pt idx="5">
                  <c:v>705</c:v>
                </c:pt>
                <c:pt idx="6">
                  <c:v>705</c:v>
                </c:pt>
                <c:pt idx="7">
                  <c:v>705</c:v>
                </c:pt>
                <c:pt idx="8">
                  <c:v>705</c:v>
                </c:pt>
                <c:pt idx="9">
                  <c:v>705</c:v>
                </c:pt>
                <c:pt idx="10">
                  <c:v>705</c:v>
                </c:pt>
                <c:pt idx="11">
                  <c:v>705</c:v>
                </c:pt>
                <c:pt idx="12">
                  <c:v>705</c:v>
                </c:pt>
                <c:pt idx="13">
                  <c:v>705</c:v>
                </c:pt>
                <c:pt idx="14">
                  <c:v>705</c:v>
                </c:pt>
                <c:pt idx="15">
                  <c:v>705</c:v>
                </c:pt>
                <c:pt idx="16">
                  <c:v>705</c:v>
                </c:pt>
                <c:pt idx="17">
                  <c:v>705</c:v>
                </c:pt>
                <c:pt idx="18">
                  <c:v>705</c:v>
                </c:pt>
                <c:pt idx="19">
                  <c:v>705</c:v>
                </c:pt>
                <c:pt idx="20">
                  <c:v>705</c:v>
                </c:pt>
                <c:pt idx="21">
                  <c:v>705</c:v>
                </c:pt>
                <c:pt idx="22">
                  <c:v>705</c:v>
                </c:pt>
                <c:pt idx="23">
                  <c:v>705</c:v>
                </c:pt>
                <c:pt idx="24">
                  <c:v>705</c:v>
                </c:pt>
                <c:pt idx="25">
                  <c:v>705</c:v>
                </c:pt>
                <c:pt idx="26">
                  <c:v>705</c:v>
                </c:pt>
                <c:pt idx="27">
                  <c:v>705</c:v>
                </c:pt>
                <c:pt idx="28">
                  <c:v>705</c:v>
                </c:pt>
                <c:pt idx="29">
                  <c:v>705</c:v>
                </c:pt>
                <c:pt idx="30">
                  <c:v>705</c:v>
                </c:pt>
                <c:pt idx="31">
                  <c:v>705</c:v>
                </c:pt>
                <c:pt idx="32">
                  <c:v>705</c:v>
                </c:pt>
                <c:pt idx="33">
                  <c:v>705</c:v>
                </c:pt>
                <c:pt idx="34">
                  <c:v>705</c:v>
                </c:pt>
                <c:pt idx="35">
                  <c:v>705</c:v>
                </c:pt>
                <c:pt idx="36">
                  <c:v>705</c:v>
                </c:pt>
                <c:pt idx="37">
                  <c:v>705</c:v>
                </c:pt>
                <c:pt idx="38">
                  <c:v>705</c:v>
                </c:pt>
                <c:pt idx="39">
                  <c:v>705</c:v>
                </c:pt>
                <c:pt idx="40">
                  <c:v>705</c:v>
                </c:pt>
                <c:pt idx="41">
                  <c:v>705</c:v>
                </c:pt>
                <c:pt idx="42">
                  <c:v>705</c:v>
                </c:pt>
                <c:pt idx="43">
                  <c:v>705</c:v>
                </c:pt>
                <c:pt idx="44">
                  <c:v>705</c:v>
                </c:pt>
                <c:pt idx="45">
                  <c:v>705</c:v>
                </c:pt>
                <c:pt idx="46">
                  <c:v>705</c:v>
                </c:pt>
                <c:pt idx="47">
                  <c:v>705</c:v>
                </c:pt>
                <c:pt idx="48">
                  <c:v>705</c:v>
                </c:pt>
                <c:pt idx="49">
                  <c:v>705</c:v>
                </c:pt>
                <c:pt idx="50">
                  <c:v>705</c:v>
                </c:pt>
                <c:pt idx="51">
                  <c:v>705</c:v>
                </c:pt>
                <c:pt idx="52">
                  <c:v>705</c:v>
                </c:pt>
                <c:pt idx="53">
                  <c:v>705</c:v>
                </c:pt>
                <c:pt idx="54">
                  <c:v>705</c:v>
                </c:pt>
                <c:pt idx="55">
                  <c:v>705</c:v>
                </c:pt>
                <c:pt idx="56">
                  <c:v>705</c:v>
                </c:pt>
                <c:pt idx="57">
                  <c:v>705</c:v>
                </c:pt>
                <c:pt idx="58">
                  <c:v>705</c:v>
                </c:pt>
                <c:pt idx="59">
                  <c:v>705</c:v>
                </c:pt>
                <c:pt idx="60">
                  <c:v>705</c:v>
                </c:pt>
                <c:pt idx="61">
                  <c:v>705</c:v>
                </c:pt>
                <c:pt idx="62">
                  <c:v>705</c:v>
                </c:pt>
                <c:pt idx="63">
                  <c:v>705</c:v>
                </c:pt>
                <c:pt idx="64">
                  <c:v>705</c:v>
                </c:pt>
                <c:pt idx="65">
                  <c:v>705</c:v>
                </c:pt>
                <c:pt idx="66">
                  <c:v>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4</c:v>
                </c:pt>
                <c:pt idx="1">
                  <c:v>117</c:v>
                </c:pt>
                <c:pt idx="2">
                  <c:v>113</c:v>
                </c:pt>
                <c:pt idx="3">
                  <c:v>110</c:v>
                </c:pt>
                <c:pt idx="4">
                  <c:v>110</c:v>
                </c:pt>
                <c:pt idx="5">
                  <c:v>119</c:v>
                </c:pt>
                <c:pt idx="6">
                  <c:v>105</c:v>
                </c:pt>
                <c:pt idx="7">
                  <c:v>100</c:v>
                </c:pt>
                <c:pt idx="8">
                  <c:v>99</c:v>
                </c:pt>
                <c:pt idx="9">
                  <c:v>81</c:v>
                </c:pt>
                <c:pt idx="10">
                  <c:v>77</c:v>
                </c:pt>
                <c:pt idx="11">
                  <c:v>84</c:v>
                </c:pt>
                <c:pt idx="12">
                  <c:v>64</c:v>
                </c:pt>
                <c:pt idx="13">
                  <c:v>54</c:v>
                </c:pt>
                <c:pt idx="14">
                  <c:v>47</c:v>
                </c:pt>
                <c:pt idx="15">
                  <c:v>47</c:v>
                </c:pt>
                <c:pt idx="16">
                  <c:v>43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4</c:v>
                </c:pt>
                <c:pt idx="21">
                  <c:v>41</c:v>
                </c:pt>
                <c:pt idx="22">
                  <c:v>31</c:v>
                </c:pt>
                <c:pt idx="23">
                  <c:v>29</c:v>
                </c:pt>
                <c:pt idx="24">
                  <c:v>26</c:v>
                </c:pt>
                <c:pt idx="25">
                  <c:v>30</c:v>
                </c:pt>
                <c:pt idx="26">
                  <c:v>26</c:v>
                </c:pt>
                <c:pt idx="27">
                  <c:v>22</c:v>
                </c:pt>
                <c:pt idx="28">
                  <c:v>22</c:v>
                </c:pt>
                <c:pt idx="29">
                  <c:v>19</c:v>
                </c:pt>
                <c:pt idx="30">
                  <c:v>20</c:v>
                </c:pt>
                <c:pt idx="31">
                  <c:v>20</c:v>
                </c:pt>
                <c:pt idx="32">
                  <c:v>22</c:v>
                </c:pt>
                <c:pt idx="33">
                  <c:v>21</c:v>
                </c:pt>
                <c:pt idx="34">
                  <c:v>17</c:v>
                </c:pt>
                <c:pt idx="35">
                  <c:v>15</c:v>
                </c:pt>
                <c:pt idx="36">
                  <c:v>15</c:v>
                </c:pt>
                <c:pt idx="37">
                  <c:v>16</c:v>
                </c:pt>
                <c:pt idx="38">
                  <c:v>15</c:v>
                </c:pt>
                <c:pt idx="39">
                  <c:v>20</c:v>
                </c:pt>
                <c:pt idx="40">
                  <c:v>20</c:v>
                </c:pt>
                <c:pt idx="41">
                  <c:v>19</c:v>
                </c:pt>
                <c:pt idx="42">
                  <c:v>23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21</c:v>
                </c:pt>
                <c:pt idx="47">
                  <c:v>20</c:v>
                </c:pt>
                <c:pt idx="48">
                  <c:v>20</c:v>
                </c:pt>
                <c:pt idx="49">
                  <c:v>21</c:v>
                </c:pt>
                <c:pt idx="50">
                  <c:v>17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5</c:v>
                </c:pt>
                <c:pt idx="55">
                  <c:v>14</c:v>
                </c:pt>
                <c:pt idx="56">
                  <c:v>12</c:v>
                </c:pt>
                <c:pt idx="57">
                  <c:v>12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287787475162517</c:v>
                </c:pt>
                <c:pt idx="27">
                  <c:v>24.292357986631124</c:v>
                </c:pt>
                <c:pt idx="28">
                  <c:v>23.342240555458012</c:v>
                </c:pt>
                <c:pt idx="29">
                  <c:v>22.441103490249446</c:v>
                </c:pt>
                <c:pt idx="30">
                  <c:v>21.601365253220862</c:v>
                </c:pt>
                <c:pt idx="31">
                  <c:v>20.828560139896165</c:v>
                </c:pt>
                <c:pt idx="32">
                  <c:v>20.099378591166484</c:v>
                </c:pt>
                <c:pt idx="33">
                  <c:v>19.378605654542106</c:v>
                </c:pt>
                <c:pt idx="34">
                  <c:v>18.674591985434581</c:v>
                </c:pt>
                <c:pt idx="35">
                  <c:v>18.000723570486475</c:v>
                </c:pt>
                <c:pt idx="36">
                  <c:v>17.358625647962171</c:v>
                </c:pt>
                <c:pt idx="37">
                  <c:v>16.745553252107076</c:v>
                </c:pt>
                <c:pt idx="38">
                  <c:v>16.164595566252327</c:v>
                </c:pt>
                <c:pt idx="39">
                  <c:v>15.593823195067078</c:v>
                </c:pt>
                <c:pt idx="40">
                  <c:v>15.019087819705884</c:v>
                </c:pt>
                <c:pt idx="41">
                  <c:v>14.45424702553222</c:v>
                </c:pt>
                <c:pt idx="42">
                  <c:v>13.903790794510291</c:v>
                </c:pt>
                <c:pt idx="43">
                  <c:v>13.371254188430434</c:v>
                </c:pt>
                <c:pt idx="44">
                  <c:v>12.855149457696488</c:v>
                </c:pt>
                <c:pt idx="45">
                  <c:v>12.356475248041971</c:v>
                </c:pt>
                <c:pt idx="46">
                  <c:v>11.869191904573693</c:v>
                </c:pt>
                <c:pt idx="47">
                  <c:v>11.393874293521066</c:v>
                </c:pt>
                <c:pt idx="48">
                  <c:v>10.934183840446094</c:v>
                </c:pt>
                <c:pt idx="49">
                  <c:v>10.488045567826559</c:v>
                </c:pt>
                <c:pt idx="50">
                  <c:v>10.05699790008263</c:v>
                </c:pt>
                <c:pt idx="51">
                  <c:v>9.6426336897365488</c:v>
                </c:pt>
                <c:pt idx="52">
                  <c:v>9.2440532965494544</c:v>
                </c:pt>
                <c:pt idx="53">
                  <c:v>8.8609475696147513</c:v>
                </c:pt>
                <c:pt idx="54">
                  <c:v>8.4937029205553305</c:v>
                </c:pt>
                <c:pt idx="55">
                  <c:v>8.14124323635194</c:v>
                </c:pt>
                <c:pt idx="56">
                  <c:v>7.8037392801554732</c:v>
                </c:pt>
                <c:pt idx="57">
                  <c:v>7.4799087789854699</c:v>
                </c:pt>
                <c:pt idx="58">
                  <c:v>7.1706599965626703</c:v>
                </c:pt>
                <c:pt idx="59">
                  <c:v>6.8768408594644912</c:v>
                </c:pt>
                <c:pt idx="60">
                  <c:v>6.5960325077581228</c:v>
                </c:pt>
                <c:pt idx="61">
                  <c:v>6.3274098795908369</c:v>
                </c:pt>
                <c:pt idx="62">
                  <c:v>6.0718765236789798</c:v>
                </c:pt>
                <c:pt idx="63">
                  <c:v>5.8278871215199102</c:v>
                </c:pt>
                <c:pt idx="64">
                  <c:v>5.5956568041638093</c:v>
                </c:pt>
                <c:pt idx="65">
                  <c:v>5.3745527167268605</c:v>
                </c:pt>
                <c:pt idx="66">
                  <c:v>5.1639513179627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328336574140788</c:v>
                </c:pt>
                <c:pt idx="27">
                  <c:v>24.403007508853754</c:v>
                </c:pt>
                <c:pt idx="28">
                  <c:v>23.540660446295817</c:v>
                </c:pt>
                <c:pt idx="29">
                  <c:v>22.737125706629755</c:v>
                </c:pt>
                <c:pt idx="30">
                  <c:v>22.007730462138614</c:v>
                </c:pt>
                <c:pt idx="31">
                  <c:v>21.360373856167186</c:v>
                </c:pt>
                <c:pt idx="32">
                  <c:v>20.772924534821737</c:v>
                </c:pt>
                <c:pt idx="33">
                  <c:v>20.210151063638257</c:v>
                </c:pt>
                <c:pt idx="34">
                  <c:v>19.672913200915353</c:v>
                </c:pt>
                <c:pt idx="35">
                  <c:v>19.170450981218927</c:v>
                </c:pt>
                <c:pt idx="36">
                  <c:v>18.702508114806736</c:v>
                </c:pt>
                <c:pt idx="37">
                  <c:v>18.266971034050112</c:v>
                </c:pt>
                <c:pt idx="38">
                  <c:v>17.865878214351056</c:v>
                </c:pt>
                <c:pt idx="39">
                  <c:v>17.475181386188193</c:v>
                </c:pt>
                <c:pt idx="40">
                  <c:v>17.077419326970166</c:v>
                </c:pt>
                <c:pt idx="41">
                  <c:v>16.683429872407096</c:v>
                </c:pt>
                <c:pt idx="42">
                  <c:v>16.297296185607159</c:v>
                </c:pt>
                <c:pt idx="43">
                  <c:v>15.922369033881576</c:v>
                </c:pt>
                <c:pt idx="44">
                  <c:v>15.55656278793462</c:v>
                </c:pt>
                <c:pt idx="45">
                  <c:v>15.200030886924992</c:v>
                </c:pt>
                <c:pt idx="46">
                  <c:v>14.846445834102134</c:v>
                </c:pt>
                <c:pt idx="47">
                  <c:v>14.495641662304978</c:v>
                </c:pt>
                <c:pt idx="48">
                  <c:v>14.150301888190672</c:v>
                </c:pt>
                <c:pt idx="49">
                  <c:v>13.809280920037388</c:v>
                </c:pt>
                <c:pt idx="50">
                  <c:v>13.473882988354775</c:v>
                </c:pt>
                <c:pt idx="51">
                  <c:v>13.146083094497557</c:v>
                </c:pt>
                <c:pt idx="52">
                  <c:v>12.825070116038843</c:v>
                </c:pt>
                <c:pt idx="53">
                  <c:v>12.510655344770424</c:v>
                </c:pt>
                <c:pt idx="54">
                  <c:v>12.203403661618021</c:v>
                </c:pt>
                <c:pt idx="55">
                  <c:v>11.902763705697954</c:v>
                </c:pt>
                <c:pt idx="56">
                  <c:v>11.609237506930796</c:v>
                </c:pt>
                <c:pt idx="57">
                  <c:v>11.322052575476043</c:v>
                </c:pt>
                <c:pt idx="58">
                  <c:v>11.042327511471862</c:v>
                </c:pt>
                <c:pt idx="59">
                  <c:v>10.771399984198055</c:v>
                </c:pt>
                <c:pt idx="60">
                  <c:v>10.507085506639763</c:v>
                </c:pt>
                <c:pt idx="61">
                  <c:v>10.249299793131007</c:v>
                </c:pt>
                <c:pt idx="62">
                  <c:v>9.998856896832768</c:v>
                </c:pt>
                <c:pt idx="63">
                  <c:v>9.7548762380355392</c:v>
                </c:pt>
                <c:pt idx="64">
                  <c:v>9.5177614329600377</c:v>
                </c:pt>
                <c:pt idx="65">
                  <c:v>9.2872641321525577</c:v>
                </c:pt>
                <c:pt idx="66">
                  <c:v>9.0628436628201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368578482975288</c:v>
                </c:pt>
                <c:pt idx="27">
                  <c:v>24.513293525524166</c:v>
                </c:pt>
                <c:pt idx="28">
                  <c:v>23.738704446578705</c:v>
                </c:pt>
                <c:pt idx="29">
                  <c:v>23.032765158795499</c:v>
                </c:pt>
                <c:pt idx="30">
                  <c:v>22.415551839515892</c:v>
                </c:pt>
                <c:pt idx="31">
                  <c:v>21.898895515624297</c:v>
                </c:pt>
                <c:pt idx="32">
                  <c:v>21.463062027370366</c:v>
                </c:pt>
                <c:pt idx="33">
                  <c:v>21.073068953401155</c:v>
                </c:pt>
                <c:pt idx="34">
                  <c:v>20.721455240955457</c:v>
                </c:pt>
                <c:pt idx="35">
                  <c:v>20.412877910734554</c:v>
                </c:pt>
                <c:pt idx="36">
                  <c:v>20.146967281230932</c:v>
                </c:pt>
                <c:pt idx="37">
                  <c:v>19.923740361172914</c:v>
                </c:pt>
                <c:pt idx="38">
                  <c:v>19.743735620552439</c:v>
                </c:pt>
                <c:pt idx="39">
                  <c:v>19.580262231238873</c:v>
                </c:pt>
                <c:pt idx="40">
                  <c:v>19.413200792684435</c:v>
                </c:pt>
                <c:pt idx="41">
                  <c:v>19.249975992817561</c:v>
                </c:pt>
                <c:pt idx="42">
                  <c:v>19.093374386906845</c:v>
                </c:pt>
                <c:pt idx="43">
                  <c:v>18.9474084894605</c:v>
                </c:pt>
                <c:pt idx="44">
                  <c:v>18.810172087272242</c:v>
                </c:pt>
                <c:pt idx="45">
                  <c:v>18.680154635251821</c:v>
                </c:pt>
                <c:pt idx="46">
                  <c:v>18.548732650719927</c:v>
                </c:pt>
                <c:pt idx="47">
                  <c:v>18.414931229595357</c:v>
                </c:pt>
                <c:pt idx="48">
                  <c:v>18.281661220814367</c:v>
                </c:pt>
                <c:pt idx="49">
                  <c:v>18.147116195269433</c:v>
                </c:pt>
                <c:pt idx="50">
                  <c:v>18.013039957003869</c:v>
                </c:pt>
                <c:pt idx="51">
                  <c:v>17.880659924690104</c:v>
                </c:pt>
                <c:pt idx="52">
                  <c:v>17.749007509021535</c:v>
                </c:pt>
                <c:pt idx="53">
                  <c:v>17.617414859074728</c:v>
                </c:pt>
                <c:pt idx="54">
                  <c:v>17.486314602537551</c:v>
                </c:pt>
                <c:pt idx="55">
                  <c:v>17.356004994329908</c:v>
                </c:pt>
                <c:pt idx="56">
                  <c:v>17.226571731556447</c:v>
                </c:pt>
                <c:pt idx="57">
                  <c:v>17.097142944103904</c:v>
                </c:pt>
                <c:pt idx="58">
                  <c:v>16.969355035383831</c:v>
                </c:pt>
                <c:pt idx="59">
                  <c:v>16.84368517825299</c:v>
                </c:pt>
                <c:pt idx="60">
                  <c:v>16.718749712012738</c:v>
                </c:pt>
                <c:pt idx="61">
                  <c:v>16.594321882165289</c:v>
                </c:pt>
                <c:pt idx="62">
                  <c:v>16.471466749200403</c:v>
                </c:pt>
                <c:pt idx="63">
                  <c:v>16.349313487737131</c:v>
                </c:pt>
                <c:pt idx="64">
                  <c:v>16.228278533915528</c:v>
                </c:pt>
                <c:pt idx="65">
                  <c:v>16.108718252838774</c:v>
                </c:pt>
                <c:pt idx="66">
                  <c:v>15.989873677542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.429094941298917</c:v>
                </c:pt>
                <c:pt idx="27">
                  <c:v>24.679211493449657</c:v>
                </c:pt>
                <c:pt idx="28">
                  <c:v>24.036475492904593</c:v>
                </c:pt>
                <c:pt idx="29">
                  <c:v>23.476973362482418</c:v>
                </c:pt>
                <c:pt idx="30">
                  <c:v>23.032195168216322</c:v>
                </c:pt>
                <c:pt idx="31">
                  <c:v>22.722341430161748</c:v>
                </c:pt>
                <c:pt idx="32">
                  <c:v>22.532674399317052</c:v>
                </c:pt>
                <c:pt idx="33">
                  <c:v>22.42983568093327</c:v>
                </c:pt>
                <c:pt idx="34">
                  <c:v>22.392488607607689</c:v>
                </c:pt>
                <c:pt idx="35">
                  <c:v>22.419582909997263</c:v>
                </c:pt>
                <c:pt idx="36">
                  <c:v>22.512194334697476</c:v>
                </c:pt>
                <c:pt idx="37">
                  <c:v>22.676813579743971</c:v>
                </c:pt>
                <c:pt idx="38">
                  <c:v>22.913815866970985</c:v>
                </c:pt>
                <c:pt idx="39">
                  <c:v>23.192223497548142</c:v>
                </c:pt>
                <c:pt idx="40">
                  <c:v>23.48618277615823</c:v>
                </c:pt>
                <c:pt idx="41">
                  <c:v>23.799017959683404</c:v>
                </c:pt>
                <c:pt idx="42">
                  <c:v>24.134419621768529</c:v>
                </c:pt>
                <c:pt idx="43">
                  <c:v>24.498510802462992</c:v>
                </c:pt>
                <c:pt idx="44">
                  <c:v>24.889441432953017</c:v>
                </c:pt>
                <c:pt idx="45">
                  <c:v>25.302462007392545</c:v>
                </c:pt>
                <c:pt idx="46">
                  <c:v>25.72629417118409</c:v>
                </c:pt>
                <c:pt idx="47">
                  <c:v>26.158164149513084</c:v>
                </c:pt>
                <c:pt idx="48">
                  <c:v>26.601440885795007</c:v>
                </c:pt>
                <c:pt idx="49">
                  <c:v>27.055831840812594</c:v>
                </c:pt>
                <c:pt idx="50">
                  <c:v>27.522600012259552</c:v>
                </c:pt>
                <c:pt idx="51">
                  <c:v>28.001823879431033</c:v>
                </c:pt>
                <c:pt idx="52">
                  <c:v>28.490765667387137</c:v>
                </c:pt>
                <c:pt idx="53">
                  <c:v>28.988683424361117</c:v>
                </c:pt>
                <c:pt idx="54">
                  <c:v>29.496758435339935</c:v>
                </c:pt>
                <c:pt idx="55">
                  <c:v>30.015621194081405</c:v>
                </c:pt>
                <c:pt idx="56">
                  <c:v>30.54535440897245</c:v>
                </c:pt>
                <c:pt idx="57">
                  <c:v>31.084542755183122</c:v>
                </c:pt>
                <c:pt idx="58">
                  <c:v>31.634126811631411</c:v>
                </c:pt>
                <c:pt idx="59">
                  <c:v>32.195523552718115</c:v>
                </c:pt>
                <c:pt idx="60">
                  <c:v>32.767183001963524</c:v>
                </c:pt>
                <c:pt idx="61">
                  <c:v>33.349065415234485</c:v>
                </c:pt>
                <c:pt idx="62">
                  <c:v>33.942449441618123</c:v>
                </c:pt>
                <c:pt idx="63">
                  <c:v>34.546327409142364</c:v>
                </c:pt>
                <c:pt idx="64">
                  <c:v>35.161255023035245</c:v>
                </c:pt>
                <c:pt idx="65">
                  <c:v>35.787518384695218</c:v>
                </c:pt>
                <c:pt idx="66">
                  <c:v>36.424866442806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98</c:v>
                </c:pt>
                <c:pt idx="1">
                  <c:v>398</c:v>
                </c:pt>
                <c:pt idx="2">
                  <c:v>398</c:v>
                </c:pt>
                <c:pt idx="3">
                  <c:v>398</c:v>
                </c:pt>
                <c:pt idx="4">
                  <c:v>398</c:v>
                </c:pt>
                <c:pt idx="5">
                  <c:v>398</c:v>
                </c:pt>
                <c:pt idx="6">
                  <c:v>398</c:v>
                </c:pt>
                <c:pt idx="7">
                  <c:v>398</c:v>
                </c:pt>
                <c:pt idx="8">
                  <c:v>398</c:v>
                </c:pt>
                <c:pt idx="9">
                  <c:v>398</c:v>
                </c:pt>
                <c:pt idx="10">
                  <c:v>398</c:v>
                </c:pt>
                <c:pt idx="11">
                  <c:v>398</c:v>
                </c:pt>
                <c:pt idx="12">
                  <c:v>398</c:v>
                </c:pt>
                <c:pt idx="13">
                  <c:v>398</c:v>
                </c:pt>
                <c:pt idx="14">
                  <c:v>398</c:v>
                </c:pt>
                <c:pt idx="15">
                  <c:v>398</c:v>
                </c:pt>
                <c:pt idx="16">
                  <c:v>398</c:v>
                </c:pt>
                <c:pt idx="17">
                  <c:v>398</c:v>
                </c:pt>
                <c:pt idx="18">
                  <c:v>398</c:v>
                </c:pt>
                <c:pt idx="19">
                  <c:v>398</c:v>
                </c:pt>
                <c:pt idx="20">
                  <c:v>398</c:v>
                </c:pt>
                <c:pt idx="21">
                  <c:v>398</c:v>
                </c:pt>
                <c:pt idx="22">
                  <c:v>398</c:v>
                </c:pt>
                <c:pt idx="23">
                  <c:v>398</c:v>
                </c:pt>
                <c:pt idx="24">
                  <c:v>398</c:v>
                </c:pt>
                <c:pt idx="25">
                  <c:v>398</c:v>
                </c:pt>
                <c:pt idx="26">
                  <c:v>398</c:v>
                </c:pt>
                <c:pt idx="27">
                  <c:v>398</c:v>
                </c:pt>
                <c:pt idx="28">
                  <c:v>398</c:v>
                </c:pt>
                <c:pt idx="29">
                  <c:v>398</c:v>
                </c:pt>
                <c:pt idx="30">
                  <c:v>398</c:v>
                </c:pt>
                <c:pt idx="31">
                  <c:v>398</c:v>
                </c:pt>
                <c:pt idx="32">
                  <c:v>398</c:v>
                </c:pt>
                <c:pt idx="33">
                  <c:v>398</c:v>
                </c:pt>
                <c:pt idx="34">
                  <c:v>398</c:v>
                </c:pt>
                <c:pt idx="35">
                  <c:v>398</c:v>
                </c:pt>
                <c:pt idx="36">
                  <c:v>398</c:v>
                </c:pt>
                <c:pt idx="37">
                  <c:v>398</c:v>
                </c:pt>
                <c:pt idx="38">
                  <c:v>398</c:v>
                </c:pt>
                <c:pt idx="39">
                  <c:v>398</c:v>
                </c:pt>
                <c:pt idx="40">
                  <c:v>398</c:v>
                </c:pt>
                <c:pt idx="41">
                  <c:v>398</c:v>
                </c:pt>
                <c:pt idx="42">
                  <c:v>398</c:v>
                </c:pt>
                <c:pt idx="43">
                  <c:v>398</c:v>
                </c:pt>
                <c:pt idx="44">
                  <c:v>398</c:v>
                </c:pt>
                <c:pt idx="45">
                  <c:v>398</c:v>
                </c:pt>
                <c:pt idx="46">
                  <c:v>398</c:v>
                </c:pt>
                <c:pt idx="47">
                  <c:v>398</c:v>
                </c:pt>
                <c:pt idx="48">
                  <c:v>398</c:v>
                </c:pt>
                <c:pt idx="49">
                  <c:v>398</c:v>
                </c:pt>
                <c:pt idx="50">
                  <c:v>398</c:v>
                </c:pt>
                <c:pt idx="51">
                  <c:v>398</c:v>
                </c:pt>
                <c:pt idx="52">
                  <c:v>398</c:v>
                </c:pt>
                <c:pt idx="53">
                  <c:v>398</c:v>
                </c:pt>
                <c:pt idx="54">
                  <c:v>398</c:v>
                </c:pt>
                <c:pt idx="55">
                  <c:v>398</c:v>
                </c:pt>
                <c:pt idx="56">
                  <c:v>398</c:v>
                </c:pt>
                <c:pt idx="57">
                  <c:v>398</c:v>
                </c:pt>
                <c:pt idx="58">
                  <c:v>398</c:v>
                </c:pt>
                <c:pt idx="59">
                  <c:v>398</c:v>
                </c:pt>
                <c:pt idx="60">
                  <c:v>398</c:v>
                </c:pt>
                <c:pt idx="61">
                  <c:v>398</c:v>
                </c:pt>
                <c:pt idx="62">
                  <c:v>398</c:v>
                </c:pt>
                <c:pt idx="63">
                  <c:v>398</c:v>
                </c:pt>
                <c:pt idx="64">
                  <c:v>398</c:v>
                </c:pt>
                <c:pt idx="65">
                  <c:v>398</c:v>
                </c:pt>
                <c:pt idx="66">
                  <c:v>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1</c:v>
                </c:pt>
                <c:pt idx="1">
                  <c:v>631</c:v>
                </c:pt>
                <c:pt idx="2">
                  <c:v>502</c:v>
                </c:pt>
                <c:pt idx="3">
                  <c:v>527</c:v>
                </c:pt>
                <c:pt idx="4">
                  <c:v>532</c:v>
                </c:pt>
                <c:pt idx="5">
                  <c:v>700</c:v>
                </c:pt>
                <c:pt idx="6">
                  <c:v>639</c:v>
                </c:pt>
                <c:pt idx="7">
                  <c:v>577</c:v>
                </c:pt>
                <c:pt idx="8">
                  <c:v>520</c:v>
                </c:pt>
                <c:pt idx="9">
                  <c:v>458</c:v>
                </c:pt>
                <c:pt idx="10">
                  <c:v>461</c:v>
                </c:pt>
                <c:pt idx="11">
                  <c:v>549</c:v>
                </c:pt>
                <c:pt idx="12">
                  <c:v>516</c:v>
                </c:pt>
                <c:pt idx="13">
                  <c:v>495</c:v>
                </c:pt>
                <c:pt idx="14">
                  <c:v>426</c:v>
                </c:pt>
                <c:pt idx="15">
                  <c:v>401</c:v>
                </c:pt>
                <c:pt idx="16">
                  <c:v>375</c:v>
                </c:pt>
                <c:pt idx="17">
                  <c:v>366</c:v>
                </c:pt>
                <c:pt idx="18">
                  <c:v>441</c:v>
                </c:pt>
                <c:pt idx="19">
                  <c:v>415</c:v>
                </c:pt>
                <c:pt idx="20">
                  <c:v>381</c:v>
                </c:pt>
                <c:pt idx="21">
                  <c:v>353</c:v>
                </c:pt>
                <c:pt idx="22">
                  <c:v>347</c:v>
                </c:pt>
                <c:pt idx="23">
                  <c:v>316</c:v>
                </c:pt>
                <c:pt idx="24">
                  <c:v>323</c:v>
                </c:pt>
                <c:pt idx="25">
                  <c:v>355</c:v>
                </c:pt>
                <c:pt idx="26">
                  <c:v>328</c:v>
                </c:pt>
                <c:pt idx="27">
                  <c:v>316</c:v>
                </c:pt>
                <c:pt idx="28">
                  <c:v>293</c:v>
                </c:pt>
                <c:pt idx="29">
                  <c:v>257</c:v>
                </c:pt>
                <c:pt idx="30">
                  <c:v>228</c:v>
                </c:pt>
                <c:pt idx="31">
                  <c:v>230</c:v>
                </c:pt>
                <c:pt idx="32">
                  <c:v>279</c:v>
                </c:pt>
                <c:pt idx="33">
                  <c:v>256</c:v>
                </c:pt>
                <c:pt idx="34">
                  <c:v>238</c:v>
                </c:pt>
                <c:pt idx="35">
                  <c:v>220</c:v>
                </c:pt>
                <c:pt idx="36">
                  <c:v>197</c:v>
                </c:pt>
                <c:pt idx="37">
                  <c:v>168</c:v>
                </c:pt>
                <c:pt idx="38">
                  <c:v>174</c:v>
                </c:pt>
                <c:pt idx="39">
                  <c:v>194</c:v>
                </c:pt>
                <c:pt idx="40">
                  <c:v>169</c:v>
                </c:pt>
                <c:pt idx="41">
                  <c:v>163</c:v>
                </c:pt>
                <c:pt idx="42">
                  <c:v>160</c:v>
                </c:pt>
                <c:pt idx="43">
                  <c:v>149</c:v>
                </c:pt>
                <c:pt idx="44">
                  <c:v>129</c:v>
                </c:pt>
                <c:pt idx="45">
                  <c:v>135</c:v>
                </c:pt>
                <c:pt idx="46">
                  <c:v>138</c:v>
                </c:pt>
                <c:pt idx="47">
                  <c:v>95</c:v>
                </c:pt>
                <c:pt idx="48">
                  <c:v>94</c:v>
                </c:pt>
                <c:pt idx="49">
                  <c:v>88</c:v>
                </c:pt>
                <c:pt idx="50">
                  <c:v>109</c:v>
                </c:pt>
                <c:pt idx="51">
                  <c:v>87</c:v>
                </c:pt>
                <c:pt idx="52">
                  <c:v>83</c:v>
                </c:pt>
                <c:pt idx="53">
                  <c:v>87</c:v>
                </c:pt>
                <c:pt idx="54">
                  <c:v>78</c:v>
                </c:pt>
                <c:pt idx="55">
                  <c:v>73</c:v>
                </c:pt>
                <c:pt idx="56">
                  <c:v>61</c:v>
                </c:pt>
                <c:pt idx="57">
                  <c:v>5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32.47114903579023</c:v>
                </c:pt>
                <c:pt idx="27">
                  <c:v>319.23765608633585</c:v>
                </c:pt>
                <c:pt idx="28">
                  <c:v>306.59706652999506</c:v>
                </c:pt>
                <c:pt idx="29">
                  <c:v>294.57321455429678</c:v>
                </c:pt>
                <c:pt idx="30">
                  <c:v>283.36136702575214</c:v>
                </c:pt>
                <c:pt idx="31">
                  <c:v>273.1019270065309</c:v>
                </c:pt>
                <c:pt idx="32">
                  <c:v>263.46711165580911</c:v>
                </c:pt>
                <c:pt idx="33">
                  <c:v>253.98610089724701</c:v>
                </c:pt>
                <c:pt idx="34">
                  <c:v>244.75747675579748</c:v>
                </c:pt>
                <c:pt idx="35">
                  <c:v>235.95365244444397</c:v>
                </c:pt>
                <c:pt idx="36">
                  <c:v>227.55723074541925</c:v>
                </c:pt>
                <c:pt idx="37">
                  <c:v>219.50840511191183</c:v>
                </c:pt>
                <c:pt idx="38">
                  <c:v>211.85939258788218</c:v>
                </c:pt>
                <c:pt idx="39">
                  <c:v>204.31576169872434</c:v>
                </c:pt>
                <c:pt idx="40">
                  <c:v>196.71113958469326</c:v>
                </c:pt>
                <c:pt idx="41">
                  <c:v>189.21715118756759</c:v>
                </c:pt>
                <c:pt idx="42">
                  <c:v>181.93429529553049</c:v>
                </c:pt>
                <c:pt idx="43">
                  <c:v>174.86050351188908</c:v>
                </c:pt>
                <c:pt idx="44">
                  <c:v>167.99046164806543</c:v>
                </c:pt>
                <c:pt idx="45">
                  <c:v>161.34331677432976</c:v>
                </c:pt>
                <c:pt idx="46">
                  <c:v>154.83075385888614</c:v>
                </c:pt>
                <c:pt idx="47">
                  <c:v>148.47541412900316</c:v>
                </c:pt>
                <c:pt idx="48">
                  <c:v>142.32770941544828</c:v>
                </c:pt>
                <c:pt idx="49">
                  <c:v>136.36187205644541</c:v>
                </c:pt>
                <c:pt idx="50">
                  <c:v>130.59375969924162</c:v>
                </c:pt>
                <c:pt idx="51">
                  <c:v>125.04358527744114</c:v>
                </c:pt>
                <c:pt idx="52">
                  <c:v>119.70643219172507</c:v>
                </c:pt>
                <c:pt idx="53">
                  <c:v>114.56331495031449</c:v>
                </c:pt>
                <c:pt idx="54">
                  <c:v>109.62939036226639</c:v>
                </c:pt>
                <c:pt idx="55">
                  <c:v>104.89597614143887</c:v>
                </c:pt>
                <c:pt idx="56">
                  <c:v>100.3634634735949</c:v>
                </c:pt>
                <c:pt idx="57">
                  <c:v>96.015507894950503</c:v>
                </c:pt>
                <c:pt idx="58">
                  <c:v>91.856025373738518</c:v>
                </c:pt>
                <c:pt idx="59">
                  <c:v>87.905986495435585</c:v>
                </c:pt>
                <c:pt idx="60">
                  <c:v>84.137165623100955</c:v>
                </c:pt>
                <c:pt idx="61">
                  <c:v>80.518733724525148</c:v>
                </c:pt>
                <c:pt idx="62">
                  <c:v>77.079641814727921</c:v>
                </c:pt>
                <c:pt idx="63">
                  <c:v>73.799752338477205</c:v>
                </c:pt>
                <c:pt idx="64">
                  <c:v>70.673329971874367</c:v>
                </c:pt>
                <c:pt idx="65">
                  <c:v>67.702337359899275</c:v>
                </c:pt>
                <c:pt idx="66">
                  <c:v>64.872162663626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32.99357203630143</c:v>
                </c:pt>
                <c:pt idx="27">
                  <c:v>320.66421395412038</c:v>
                </c:pt>
                <c:pt idx="28">
                  <c:v>309.16019810600829</c:v>
                </c:pt>
                <c:pt idx="29">
                  <c:v>298.4063100625491</c:v>
                </c:pt>
                <c:pt idx="30">
                  <c:v>288.63756144919273</c:v>
                </c:pt>
                <c:pt idx="31">
                  <c:v>280.02720878871236</c:v>
                </c:pt>
                <c:pt idx="32">
                  <c:v>272.2636821303409</c:v>
                </c:pt>
                <c:pt idx="33">
                  <c:v>264.87657872128443</c:v>
                </c:pt>
                <c:pt idx="34">
                  <c:v>257.86655163973921</c:v>
                </c:pt>
                <c:pt idx="35">
                  <c:v>251.35097344136273</c:v>
                </c:pt>
                <c:pt idx="36">
                  <c:v>245.28537839261767</c:v>
                </c:pt>
                <c:pt idx="37">
                  <c:v>239.61599453387407</c:v>
                </c:pt>
                <c:pt idx="38">
                  <c:v>234.37960561959935</c:v>
                </c:pt>
                <c:pt idx="39">
                  <c:v>229.25301904367973</c:v>
                </c:pt>
                <c:pt idx="40">
                  <c:v>224.02604868389531</c:v>
                </c:pt>
                <c:pt idx="41">
                  <c:v>218.83025291662133</c:v>
                </c:pt>
                <c:pt idx="42">
                  <c:v>213.7596820549434</c:v>
                </c:pt>
                <c:pt idx="43">
                  <c:v>208.80876992008456</c:v>
                </c:pt>
                <c:pt idx="44">
                  <c:v>203.96365995469731</c:v>
                </c:pt>
                <c:pt idx="45">
                  <c:v>199.23189147127692</c:v>
                </c:pt>
                <c:pt idx="46">
                  <c:v>194.52138164588933</c:v>
                </c:pt>
                <c:pt idx="47">
                  <c:v>189.84492218399069</c:v>
                </c:pt>
                <c:pt idx="48">
                  <c:v>185.24035948981293</c:v>
                </c:pt>
                <c:pt idx="49">
                  <c:v>180.69369556609786</c:v>
                </c:pt>
                <c:pt idx="50">
                  <c:v>176.21764074359419</c:v>
                </c:pt>
                <c:pt idx="51">
                  <c:v>171.83737191667112</c:v>
                </c:pt>
                <c:pt idx="52">
                  <c:v>167.54925928281685</c:v>
                </c:pt>
                <c:pt idx="53">
                  <c:v>163.33595323543895</c:v>
                </c:pt>
                <c:pt idx="54">
                  <c:v>159.21505220471511</c:v>
                </c:pt>
                <c:pt idx="55">
                  <c:v>155.18473417938193</c:v>
                </c:pt>
                <c:pt idx="56">
                  <c:v>151.24985000868992</c:v>
                </c:pt>
                <c:pt idx="57">
                  <c:v>147.40084225639785</c:v>
                </c:pt>
                <c:pt idx="58">
                  <c:v>143.6445564603753</c:v>
                </c:pt>
                <c:pt idx="59">
                  <c:v>140.00837354771716</c:v>
                </c:pt>
                <c:pt idx="60">
                  <c:v>136.46730716224502</c:v>
                </c:pt>
                <c:pt idx="61">
                  <c:v>133.000359014297</c:v>
                </c:pt>
                <c:pt idx="62">
                  <c:v>129.63554492717179</c:v>
                </c:pt>
                <c:pt idx="63">
                  <c:v>126.36158889067768</c:v>
                </c:pt>
                <c:pt idx="64">
                  <c:v>123.17531812226565</c:v>
                </c:pt>
                <c:pt idx="65">
                  <c:v>120.08375724080673</c:v>
                </c:pt>
                <c:pt idx="66">
                  <c:v>117.07355719009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33.51203728680878</c:v>
                </c:pt>
                <c:pt idx="27">
                  <c:v>322.08608108806402</c:v>
                </c:pt>
                <c:pt idx="28">
                  <c:v>311.71844719246434</c:v>
                </c:pt>
                <c:pt idx="29">
                  <c:v>302.23440338281455</c:v>
                </c:pt>
                <c:pt idx="30">
                  <c:v>293.93240544391165</c:v>
                </c:pt>
                <c:pt idx="31">
                  <c:v>287.03879873431038</c:v>
                </c:pt>
                <c:pt idx="32">
                  <c:v>281.27416952709456</c:v>
                </c:pt>
                <c:pt idx="33">
                  <c:v>276.17228780450091</c:v>
                </c:pt>
                <c:pt idx="34">
                  <c:v>271.62566498653268</c:v>
                </c:pt>
                <c:pt idx="35">
                  <c:v>267.6915189542101</c:v>
                </c:pt>
                <c:pt idx="36">
                  <c:v>264.3215549276382</c:v>
                </c:pt>
                <c:pt idx="37">
                  <c:v>261.48778660035629</c:v>
                </c:pt>
                <c:pt idx="38">
                  <c:v>259.20621067175125</c:v>
                </c:pt>
                <c:pt idx="39">
                  <c:v>257.11843121448101</c:v>
                </c:pt>
                <c:pt idx="40">
                  <c:v>254.97898788762802</c:v>
                </c:pt>
                <c:pt idx="41">
                  <c:v>252.87436932606562</c:v>
                </c:pt>
                <c:pt idx="42">
                  <c:v>250.88077784405834</c:v>
                </c:pt>
                <c:pt idx="43">
                  <c:v>249.0000131680699</c:v>
                </c:pt>
                <c:pt idx="44">
                  <c:v>247.21960794292488</c:v>
                </c:pt>
                <c:pt idx="45">
                  <c:v>245.52492294947029</c:v>
                </c:pt>
                <c:pt idx="46">
                  <c:v>243.79415277112366</c:v>
                </c:pt>
                <c:pt idx="47">
                  <c:v>242.02917561991404</c:v>
                </c:pt>
                <c:pt idx="48">
                  <c:v>240.27051176241383</c:v>
                </c:pt>
                <c:pt idx="49">
                  <c:v>238.49523229283818</c:v>
                </c:pt>
                <c:pt idx="50">
                  <c:v>236.72141394353412</c:v>
                </c:pt>
                <c:pt idx="51">
                  <c:v>234.96435138077956</c:v>
                </c:pt>
                <c:pt idx="52">
                  <c:v>233.2183886592814</c:v>
                </c:pt>
                <c:pt idx="53">
                  <c:v>231.45983972129784</c:v>
                </c:pt>
                <c:pt idx="54">
                  <c:v>229.70453056394052</c:v>
                </c:pt>
                <c:pt idx="55">
                  <c:v>227.96150109176432</c:v>
                </c:pt>
                <c:pt idx="56">
                  <c:v>226.23022273962431</c:v>
                </c:pt>
                <c:pt idx="57">
                  <c:v>224.49997901125994</c:v>
                </c:pt>
                <c:pt idx="58">
                  <c:v>222.78429418630731</c:v>
                </c:pt>
                <c:pt idx="59">
                  <c:v>221.09942677809977</c:v>
                </c:pt>
                <c:pt idx="60">
                  <c:v>219.43077950469012</c:v>
                </c:pt>
                <c:pt idx="61">
                  <c:v>217.75559180074885</c:v>
                </c:pt>
                <c:pt idx="62">
                  <c:v>216.10522191277641</c:v>
                </c:pt>
                <c:pt idx="63">
                  <c:v>214.46862908287517</c:v>
                </c:pt>
                <c:pt idx="64">
                  <c:v>212.84280781196117</c:v>
                </c:pt>
                <c:pt idx="65">
                  <c:v>211.24254369730687</c:v>
                </c:pt>
                <c:pt idx="66">
                  <c:v>209.65171643387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34.29171403757164</c:v>
                </c:pt>
                <c:pt idx="27">
                  <c:v>324.22518490590369</c:v>
                </c:pt>
                <c:pt idx="28">
                  <c:v>315.56493167576974</c:v>
                </c:pt>
                <c:pt idx="29">
                  <c:v>307.98627231368363</c:v>
                </c:pt>
                <c:pt idx="30">
                  <c:v>301.93809295818005</c:v>
                </c:pt>
                <c:pt idx="31">
                  <c:v>297.75831357726838</c:v>
                </c:pt>
                <c:pt idx="32">
                  <c:v>295.23427141369115</c:v>
                </c:pt>
                <c:pt idx="33">
                  <c:v>293.92271186552176</c:v>
                </c:pt>
                <c:pt idx="34">
                  <c:v>293.5367937305283</c:v>
                </c:pt>
                <c:pt idx="35">
                  <c:v>294.05955543953365</c:v>
                </c:pt>
                <c:pt idx="36">
                  <c:v>295.45865856820762</c:v>
                </c:pt>
                <c:pt idx="37">
                  <c:v>297.78802047360483</c:v>
                </c:pt>
                <c:pt idx="38">
                  <c:v>301.06017961307367</c:v>
                </c:pt>
                <c:pt idx="39">
                  <c:v>304.86056753543653</c:v>
                </c:pt>
                <c:pt idx="40">
                  <c:v>308.86895935810702</c:v>
                </c:pt>
                <c:pt idx="41">
                  <c:v>313.11778469664557</c:v>
                </c:pt>
                <c:pt idx="42">
                  <c:v>317.69352075281688</c:v>
                </c:pt>
                <c:pt idx="43">
                  <c:v>322.62380582265808</c:v>
                </c:pt>
                <c:pt idx="44">
                  <c:v>327.89598514627227</c:v>
                </c:pt>
                <c:pt idx="45">
                  <c:v>333.4528838741262</c:v>
                </c:pt>
                <c:pt idx="46">
                  <c:v>339.13848585888354</c:v>
                </c:pt>
                <c:pt idx="47">
                  <c:v>344.93087051231316</c:v>
                </c:pt>
                <c:pt idx="48">
                  <c:v>350.87619423831467</c:v>
                </c:pt>
                <c:pt idx="49">
                  <c:v>356.97039248868293</c:v>
                </c:pt>
                <c:pt idx="50">
                  <c:v>363.22496075988715</c:v>
                </c:pt>
                <c:pt idx="51">
                  <c:v>369.64017200297656</c:v>
                </c:pt>
                <c:pt idx="52">
                  <c:v>376.18755278749518</c:v>
                </c:pt>
                <c:pt idx="53">
                  <c:v>382.84225973855757</c:v>
                </c:pt>
                <c:pt idx="54">
                  <c:v>389.62954490844606</c:v>
                </c:pt>
                <c:pt idx="55">
                  <c:v>396.56257415954371</c:v>
                </c:pt>
                <c:pt idx="56">
                  <c:v>403.64075700781575</c:v>
                </c:pt>
                <c:pt idx="57">
                  <c:v>410.84641583273628</c:v>
                </c:pt>
                <c:pt idx="58">
                  <c:v>418.18414496923424</c:v>
                </c:pt>
                <c:pt idx="59">
                  <c:v>425.68212187660299</c:v>
                </c:pt>
                <c:pt idx="60">
                  <c:v>433.32359157038445</c:v>
                </c:pt>
                <c:pt idx="61">
                  <c:v>441.08838718033633</c:v>
                </c:pt>
                <c:pt idx="62">
                  <c:v>449.01066882141845</c:v>
                </c:pt>
                <c:pt idx="63">
                  <c:v>457.07782410472134</c:v>
                </c:pt>
                <c:pt idx="64">
                  <c:v>465.2886517555587</c:v>
                </c:pt>
                <c:pt idx="65">
                  <c:v>473.65693288481214</c:v>
                </c:pt>
                <c:pt idx="66">
                  <c:v>482.17317890837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25</c:v>
                </c:pt>
                <c:pt idx="1">
                  <c:v>825</c:v>
                </c:pt>
                <c:pt idx="2">
                  <c:v>825</c:v>
                </c:pt>
                <c:pt idx="3">
                  <c:v>825</c:v>
                </c:pt>
                <c:pt idx="4">
                  <c:v>825</c:v>
                </c:pt>
                <c:pt idx="5">
                  <c:v>825</c:v>
                </c:pt>
                <c:pt idx="6">
                  <c:v>825</c:v>
                </c:pt>
                <c:pt idx="7">
                  <c:v>825</c:v>
                </c:pt>
                <c:pt idx="8">
                  <c:v>825</c:v>
                </c:pt>
                <c:pt idx="9">
                  <c:v>825</c:v>
                </c:pt>
                <c:pt idx="10">
                  <c:v>825</c:v>
                </c:pt>
                <c:pt idx="11">
                  <c:v>825</c:v>
                </c:pt>
                <c:pt idx="12">
                  <c:v>825</c:v>
                </c:pt>
                <c:pt idx="13">
                  <c:v>825</c:v>
                </c:pt>
                <c:pt idx="14">
                  <c:v>825</c:v>
                </c:pt>
                <c:pt idx="15">
                  <c:v>825</c:v>
                </c:pt>
                <c:pt idx="16">
                  <c:v>825</c:v>
                </c:pt>
                <c:pt idx="17">
                  <c:v>825</c:v>
                </c:pt>
                <c:pt idx="18">
                  <c:v>825</c:v>
                </c:pt>
                <c:pt idx="19">
                  <c:v>825</c:v>
                </c:pt>
                <c:pt idx="20">
                  <c:v>825</c:v>
                </c:pt>
                <c:pt idx="21">
                  <c:v>825</c:v>
                </c:pt>
                <c:pt idx="22">
                  <c:v>825</c:v>
                </c:pt>
                <c:pt idx="23">
                  <c:v>825</c:v>
                </c:pt>
                <c:pt idx="24">
                  <c:v>825</c:v>
                </c:pt>
                <c:pt idx="25">
                  <c:v>825</c:v>
                </c:pt>
                <c:pt idx="26">
                  <c:v>825</c:v>
                </c:pt>
                <c:pt idx="27">
                  <c:v>825</c:v>
                </c:pt>
                <c:pt idx="28">
                  <c:v>825</c:v>
                </c:pt>
                <c:pt idx="29">
                  <c:v>825</c:v>
                </c:pt>
                <c:pt idx="30">
                  <c:v>825</c:v>
                </c:pt>
                <c:pt idx="31">
                  <c:v>825</c:v>
                </c:pt>
                <c:pt idx="32">
                  <c:v>825</c:v>
                </c:pt>
                <c:pt idx="33">
                  <c:v>825</c:v>
                </c:pt>
                <c:pt idx="34">
                  <c:v>825</c:v>
                </c:pt>
                <c:pt idx="35">
                  <c:v>825</c:v>
                </c:pt>
                <c:pt idx="36">
                  <c:v>825</c:v>
                </c:pt>
                <c:pt idx="37">
                  <c:v>825</c:v>
                </c:pt>
                <c:pt idx="38">
                  <c:v>825</c:v>
                </c:pt>
                <c:pt idx="39">
                  <c:v>825</c:v>
                </c:pt>
                <c:pt idx="40">
                  <c:v>825</c:v>
                </c:pt>
                <c:pt idx="41">
                  <c:v>825</c:v>
                </c:pt>
                <c:pt idx="42">
                  <c:v>825</c:v>
                </c:pt>
                <c:pt idx="43">
                  <c:v>825</c:v>
                </c:pt>
                <c:pt idx="44">
                  <c:v>825</c:v>
                </c:pt>
                <c:pt idx="45">
                  <c:v>825</c:v>
                </c:pt>
                <c:pt idx="46">
                  <c:v>825</c:v>
                </c:pt>
                <c:pt idx="47">
                  <c:v>825</c:v>
                </c:pt>
                <c:pt idx="48">
                  <c:v>825</c:v>
                </c:pt>
                <c:pt idx="49">
                  <c:v>825</c:v>
                </c:pt>
                <c:pt idx="50">
                  <c:v>825</c:v>
                </c:pt>
                <c:pt idx="51">
                  <c:v>825</c:v>
                </c:pt>
                <c:pt idx="52">
                  <c:v>825</c:v>
                </c:pt>
                <c:pt idx="53">
                  <c:v>825</c:v>
                </c:pt>
                <c:pt idx="54">
                  <c:v>825</c:v>
                </c:pt>
                <c:pt idx="55">
                  <c:v>825</c:v>
                </c:pt>
                <c:pt idx="56">
                  <c:v>825</c:v>
                </c:pt>
                <c:pt idx="57">
                  <c:v>825</c:v>
                </c:pt>
                <c:pt idx="58">
                  <c:v>825</c:v>
                </c:pt>
                <c:pt idx="59">
                  <c:v>825</c:v>
                </c:pt>
                <c:pt idx="60">
                  <c:v>825</c:v>
                </c:pt>
                <c:pt idx="61">
                  <c:v>825</c:v>
                </c:pt>
                <c:pt idx="62">
                  <c:v>825</c:v>
                </c:pt>
                <c:pt idx="63">
                  <c:v>825</c:v>
                </c:pt>
                <c:pt idx="64">
                  <c:v>825</c:v>
                </c:pt>
                <c:pt idx="65">
                  <c:v>825</c:v>
                </c:pt>
                <c:pt idx="66">
                  <c:v>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76</c:v>
                </c:pt>
                <c:pt idx="2">
                  <c:v>260</c:v>
                </c:pt>
                <c:pt idx="3">
                  <c:v>270</c:v>
                </c:pt>
                <c:pt idx="4">
                  <c:v>265</c:v>
                </c:pt>
                <c:pt idx="5">
                  <c:v>278</c:v>
                </c:pt>
                <c:pt idx="6">
                  <c:v>262</c:v>
                </c:pt>
                <c:pt idx="7">
                  <c:v>248</c:v>
                </c:pt>
                <c:pt idx="8">
                  <c:v>237</c:v>
                </c:pt>
                <c:pt idx="9">
                  <c:v>205</c:v>
                </c:pt>
                <c:pt idx="10">
                  <c:v>210</c:v>
                </c:pt>
                <c:pt idx="11">
                  <c:v>213</c:v>
                </c:pt>
                <c:pt idx="12">
                  <c:v>213</c:v>
                </c:pt>
                <c:pt idx="13">
                  <c:v>202</c:v>
                </c:pt>
                <c:pt idx="14">
                  <c:v>192</c:v>
                </c:pt>
                <c:pt idx="15">
                  <c:v>190</c:v>
                </c:pt>
                <c:pt idx="16">
                  <c:v>166</c:v>
                </c:pt>
                <c:pt idx="17">
                  <c:v>155</c:v>
                </c:pt>
                <c:pt idx="18">
                  <c:v>166</c:v>
                </c:pt>
                <c:pt idx="19">
                  <c:v>159</c:v>
                </c:pt>
                <c:pt idx="20">
                  <c:v>144</c:v>
                </c:pt>
                <c:pt idx="21">
                  <c:v>133</c:v>
                </c:pt>
                <c:pt idx="22">
                  <c:v>123</c:v>
                </c:pt>
                <c:pt idx="23">
                  <c:v>111</c:v>
                </c:pt>
                <c:pt idx="24">
                  <c:v>121</c:v>
                </c:pt>
                <c:pt idx="25">
                  <c:v>124</c:v>
                </c:pt>
                <c:pt idx="26">
                  <c:v>120</c:v>
                </c:pt>
                <c:pt idx="27">
                  <c:v>121</c:v>
                </c:pt>
                <c:pt idx="28">
                  <c:v>109</c:v>
                </c:pt>
                <c:pt idx="29">
                  <c:v>101</c:v>
                </c:pt>
                <c:pt idx="30">
                  <c:v>81</c:v>
                </c:pt>
                <c:pt idx="31">
                  <c:v>84</c:v>
                </c:pt>
                <c:pt idx="32">
                  <c:v>90</c:v>
                </c:pt>
                <c:pt idx="33">
                  <c:v>83</c:v>
                </c:pt>
                <c:pt idx="34">
                  <c:v>76</c:v>
                </c:pt>
                <c:pt idx="35">
                  <c:v>73</c:v>
                </c:pt>
                <c:pt idx="36">
                  <c:v>79</c:v>
                </c:pt>
                <c:pt idx="37">
                  <c:v>70</c:v>
                </c:pt>
                <c:pt idx="38">
                  <c:v>68</c:v>
                </c:pt>
                <c:pt idx="39">
                  <c:v>71</c:v>
                </c:pt>
                <c:pt idx="40">
                  <c:v>68</c:v>
                </c:pt>
                <c:pt idx="41">
                  <c:v>64</c:v>
                </c:pt>
                <c:pt idx="42">
                  <c:v>55</c:v>
                </c:pt>
                <c:pt idx="43">
                  <c:v>48</c:v>
                </c:pt>
                <c:pt idx="44">
                  <c:v>45</c:v>
                </c:pt>
                <c:pt idx="45">
                  <c:v>45</c:v>
                </c:pt>
                <c:pt idx="46">
                  <c:v>46</c:v>
                </c:pt>
                <c:pt idx="47">
                  <c:v>46</c:v>
                </c:pt>
                <c:pt idx="48">
                  <c:v>44</c:v>
                </c:pt>
                <c:pt idx="49">
                  <c:v>44</c:v>
                </c:pt>
                <c:pt idx="50">
                  <c:v>42</c:v>
                </c:pt>
                <c:pt idx="51">
                  <c:v>34</c:v>
                </c:pt>
                <c:pt idx="52">
                  <c:v>35</c:v>
                </c:pt>
                <c:pt idx="53">
                  <c:v>35</c:v>
                </c:pt>
                <c:pt idx="54">
                  <c:v>33</c:v>
                </c:pt>
                <c:pt idx="55">
                  <c:v>33</c:v>
                </c:pt>
                <c:pt idx="56">
                  <c:v>23</c:v>
                </c:pt>
                <c:pt idx="57">
                  <c:v>2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96283988633969</c:v>
                </c:pt>
                <c:pt idx="27">
                  <c:v>119.05185678998697</c:v>
                </c:pt>
                <c:pt idx="28">
                  <c:v>114.36238926576303</c:v>
                </c:pt>
                <c:pt idx="29">
                  <c:v>109.90719204280468</c:v>
                </c:pt>
                <c:pt idx="30">
                  <c:v>105.75399775481583</c:v>
                </c:pt>
                <c:pt idx="31">
                  <c:v>101.9444308716603</c:v>
                </c:pt>
                <c:pt idx="32">
                  <c:v>98.359657197460606</c:v>
                </c:pt>
                <c:pt idx="33">
                  <c:v>94.825371868305041</c:v>
                </c:pt>
                <c:pt idx="34">
                  <c:v>91.380108666309127</c:v>
                </c:pt>
                <c:pt idx="35">
                  <c:v>88.088719856618482</c:v>
                </c:pt>
                <c:pt idx="36">
                  <c:v>84.950865464503977</c:v>
                </c:pt>
                <c:pt idx="37">
                  <c:v>81.948007057046908</c:v>
                </c:pt>
                <c:pt idx="38">
                  <c:v>79.09777428354748</c:v>
                </c:pt>
                <c:pt idx="39">
                  <c:v>76.291357074735927</c:v>
                </c:pt>
                <c:pt idx="40">
                  <c:v>73.463608342810147</c:v>
                </c:pt>
                <c:pt idx="41">
                  <c:v>70.68019456650714</c:v>
                </c:pt>
                <c:pt idx="42">
                  <c:v>67.972011995972935</c:v>
                </c:pt>
                <c:pt idx="43">
                  <c:v>65.345986872435816</c:v>
                </c:pt>
                <c:pt idx="44">
                  <c:v>62.79787892340758</c:v>
                </c:pt>
                <c:pt idx="45">
                  <c:v>60.333873067780097</c:v>
                </c:pt>
                <c:pt idx="46">
                  <c:v>57.922453358010088</c:v>
                </c:pt>
                <c:pt idx="47">
                  <c:v>55.569670036338351</c:v>
                </c:pt>
                <c:pt idx="48">
                  <c:v>53.293958853127407</c:v>
                </c:pt>
                <c:pt idx="49">
                  <c:v>51.085472341125083</c:v>
                </c:pt>
                <c:pt idx="50">
                  <c:v>48.950815790151303</c:v>
                </c:pt>
                <c:pt idx="51">
                  <c:v>46.897641257358828</c:v>
                </c:pt>
                <c:pt idx="52">
                  <c:v>44.923019691677695</c:v>
                </c:pt>
                <c:pt idx="53">
                  <c:v>43.022238176988267</c:v>
                </c:pt>
                <c:pt idx="54">
                  <c:v>41.199350238283145</c:v>
                </c:pt>
                <c:pt idx="55">
                  <c:v>39.450251979076064</c:v>
                </c:pt>
                <c:pt idx="56">
                  <c:v>37.775383214216419</c:v>
                </c:pt>
                <c:pt idx="57">
                  <c:v>36.16856832754295</c:v>
                </c:pt>
                <c:pt idx="58">
                  <c:v>34.632539920342154</c:v>
                </c:pt>
                <c:pt idx="59">
                  <c:v>33.173559474211331</c:v>
                </c:pt>
                <c:pt idx="60">
                  <c:v>31.780535912392509</c:v>
                </c:pt>
                <c:pt idx="61">
                  <c:v>30.44514283498998</c:v>
                </c:pt>
                <c:pt idx="62">
                  <c:v>29.175467818468178</c:v>
                </c:pt>
                <c:pt idx="63">
                  <c:v>27.963974051980106</c:v>
                </c:pt>
                <c:pt idx="64">
                  <c:v>26.8098809827667</c:v>
                </c:pt>
                <c:pt idx="65">
                  <c:v>25.712289887962097</c:v>
                </c:pt>
                <c:pt idx="66">
                  <c:v>24.666769685200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4.15932283424723</c:v>
                </c:pt>
                <c:pt idx="27">
                  <c:v>119.58822552693539</c:v>
                </c:pt>
                <c:pt idx="28">
                  <c:v>115.32528974889735</c:v>
                </c:pt>
                <c:pt idx="29">
                  <c:v>111.34570520821137</c:v>
                </c:pt>
                <c:pt idx="30">
                  <c:v>107.73178525039705</c:v>
                </c:pt>
                <c:pt idx="31">
                  <c:v>104.53712452848897</c:v>
                </c:pt>
                <c:pt idx="32">
                  <c:v>101.64881931935007</c:v>
                </c:pt>
                <c:pt idx="33">
                  <c:v>98.892619828385406</c:v>
                </c:pt>
                <c:pt idx="34">
                  <c:v>96.270458327996266</c:v>
                </c:pt>
                <c:pt idx="35">
                  <c:v>93.826749329565317</c:v>
                </c:pt>
                <c:pt idx="36">
                  <c:v>91.551429909636312</c:v>
                </c:pt>
                <c:pt idx="37">
                  <c:v>89.428571062306347</c:v>
                </c:pt>
                <c:pt idx="38">
                  <c:v>87.470304817486038</c:v>
                </c:pt>
                <c:pt idx="39">
                  <c:v>85.557240652110593</c:v>
                </c:pt>
                <c:pt idx="40">
                  <c:v>83.60793630423538</c:v>
                </c:pt>
                <c:pt idx="41">
                  <c:v>81.673177098018684</c:v>
                </c:pt>
                <c:pt idx="42">
                  <c:v>79.781629340301237</c:v>
                </c:pt>
                <c:pt idx="43">
                  <c:v>77.939085530916628</c:v>
                </c:pt>
                <c:pt idx="44">
                  <c:v>76.138228448686192</c:v>
                </c:pt>
                <c:pt idx="45">
                  <c:v>74.380993578158382</c:v>
                </c:pt>
                <c:pt idx="46">
                  <c:v>72.634457506050865</c:v>
                </c:pt>
                <c:pt idx="47">
                  <c:v>70.9010154007116</c:v>
                </c:pt>
                <c:pt idx="48">
                  <c:v>69.194371715395462</c:v>
                </c:pt>
                <c:pt idx="49">
                  <c:v>67.509138599438415</c:v>
                </c:pt>
                <c:pt idx="50">
                  <c:v>65.850758678682297</c:v>
                </c:pt>
                <c:pt idx="51">
                  <c:v>64.228744405215139</c:v>
                </c:pt>
                <c:pt idx="52">
                  <c:v>62.640627009468872</c:v>
                </c:pt>
                <c:pt idx="53">
                  <c:v>61.082295216845701</c:v>
                </c:pt>
                <c:pt idx="54">
                  <c:v>59.558697823488274</c:v>
                </c:pt>
                <c:pt idx="55">
                  <c:v>58.068294974968779</c:v>
                </c:pt>
                <c:pt idx="56">
                  <c:v>56.613172741367862</c:v>
                </c:pt>
                <c:pt idx="57">
                  <c:v>55.189672646677593</c:v>
                </c:pt>
                <c:pt idx="58">
                  <c:v>53.801593559502905</c:v>
                </c:pt>
                <c:pt idx="59">
                  <c:v>52.457591602950863</c:v>
                </c:pt>
                <c:pt idx="60">
                  <c:v>51.147758444600029</c:v>
                </c:pt>
                <c:pt idx="61">
                  <c:v>49.867418614954076</c:v>
                </c:pt>
                <c:pt idx="62">
                  <c:v>48.624272716766818</c:v>
                </c:pt>
                <c:pt idx="63">
                  <c:v>47.414068664714826</c:v>
                </c:pt>
                <c:pt idx="64">
                  <c:v>46.236967969303493</c:v>
                </c:pt>
                <c:pt idx="65">
                  <c:v>45.093958218766367</c:v>
                </c:pt>
                <c:pt idx="66">
                  <c:v>43.98105168909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4.35431727497361</c:v>
                </c:pt>
                <c:pt idx="27">
                  <c:v>120.12283128455044</c:v>
                </c:pt>
                <c:pt idx="28">
                  <c:v>116.28636034222768</c:v>
                </c:pt>
                <c:pt idx="29">
                  <c:v>112.78234850402754</c:v>
                </c:pt>
                <c:pt idx="30">
                  <c:v>109.7166048445726</c:v>
                </c:pt>
                <c:pt idx="31">
                  <c:v>107.16229724642578</c:v>
                </c:pt>
                <c:pt idx="32">
                  <c:v>105.0184101893375</c:v>
                </c:pt>
                <c:pt idx="33">
                  <c:v>103.11210717477095</c:v>
                </c:pt>
                <c:pt idx="34">
                  <c:v>101.40480035829212</c:v>
                </c:pt>
                <c:pt idx="35">
                  <c:v>99.918459470622864</c:v>
                </c:pt>
                <c:pt idx="36">
                  <c:v>98.641964669355076</c:v>
                </c:pt>
                <c:pt idx="37">
                  <c:v>97.569354177165906</c:v>
                </c:pt>
                <c:pt idx="38">
                  <c:v>96.705178494060632</c:v>
                </c:pt>
                <c:pt idx="39">
                  <c:v>95.916994419179915</c:v>
                </c:pt>
                <c:pt idx="40">
                  <c:v>95.110259258659994</c:v>
                </c:pt>
                <c:pt idx="41">
                  <c:v>94.318984932411311</c:v>
                </c:pt>
                <c:pt idx="42">
                  <c:v>93.565310052299708</c:v>
                </c:pt>
                <c:pt idx="43">
                  <c:v>92.857985103855441</c:v>
                </c:pt>
                <c:pt idx="44">
                  <c:v>92.19036458608123</c:v>
                </c:pt>
                <c:pt idx="45">
                  <c:v>91.556162427821391</c:v>
                </c:pt>
                <c:pt idx="46">
                  <c:v>90.911299507040425</c:v>
                </c:pt>
                <c:pt idx="47">
                  <c:v>90.254145943594239</c:v>
                </c:pt>
                <c:pt idx="48">
                  <c:v>89.599453093063488</c:v>
                </c:pt>
                <c:pt idx="49">
                  <c:v>88.93854164843232</c:v>
                </c:pt>
                <c:pt idx="50">
                  <c:v>88.278920582508306</c:v>
                </c:pt>
                <c:pt idx="51">
                  <c:v>87.626426194669364</c:v>
                </c:pt>
                <c:pt idx="52">
                  <c:v>86.977827261170631</c:v>
                </c:pt>
                <c:pt idx="53">
                  <c:v>86.326655797632085</c:v>
                </c:pt>
                <c:pt idx="54">
                  <c:v>85.677205076362355</c:v>
                </c:pt>
                <c:pt idx="55">
                  <c:v>85.032034041327009</c:v>
                </c:pt>
                <c:pt idx="56">
                  <c:v>84.391208076624338</c:v>
                </c:pt>
                <c:pt idx="57">
                  <c:v>83.750613152904265</c:v>
                </c:pt>
                <c:pt idx="58">
                  <c:v>83.116558793606742</c:v>
                </c:pt>
                <c:pt idx="59">
                  <c:v>82.493523818242878</c:v>
                </c:pt>
                <c:pt idx="60">
                  <c:v>81.875495656131662</c:v>
                </c:pt>
                <c:pt idx="61">
                  <c:v>81.257124194319175</c:v>
                </c:pt>
                <c:pt idx="62">
                  <c:v>80.647349559937567</c:v>
                </c:pt>
                <c:pt idx="63">
                  <c:v>80.04199041497219</c:v>
                </c:pt>
                <c:pt idx="64">
                  <c:v>79.441270842860177</c:v>
                </c:pt>
                <c:pt idx="65">
                  <c:v>78.849102183508947</c:v>
                </c:pt>
                <c:pt idx="66">
                  <c:v>78.26044778304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4.64755318965375</c:v>
                </c:pt>
                <c:pt idx="27">
                  <c:v>120.92710991782079</c:v>
                </c:pt>
                <c:pt idx="28">
                  <c:v>117.73138841004905</c:v>
                </c:pt>
                <c:pt idx="29">
                  <c:v>114.94095976201766</c:v>
                </c:pt>
                <c:pt idx="30">
                  <c:v>112.71766336951964</c:v>
                </c:pt>
                <c:pt idx="31">
                  <c:v>111.17602437189984</c:v>
                </c:pt>
                <c:pt idx="32">
                  <c:v>110.23974736256807</c:v>
                </c:pt>
                <c:pt idx="33">
                  <c:v>109.74430486540908</c:v>
                </c:pt>
                <c:pt idx="34">
                  <c:v>109.58374899361461</c:v>
                </c:pt>
                <c:pt idx="35">
                  <c:v>109.75225554435059</c:v>
                </c:pt>
                <c:pt idx="36">
                  <c:v>110.24513724960957</c:v>
                </c:pt>
                <c:pt idx="37">
                  <c:v>111.08747920012854</c:v>
                </c:pt>
                <c:pt idx="38">
                  <c:v>112.28275050252331</c:v>
                </c:pt>
                <c:pt idx="39">
                  <c:v>113.6775338819009</c:v>
                </c:pt>
                <c:pt idx="40">
                  <c:v>115.149311034276</c:v>
                </c:pt>
                <c:pt idx="41">
                  <c:v>116.71196137964007</c:v>
                </c:pt>
                <c:pt idx="42">
                  <c:v>118.3917099450093</c:v>
                </c:pt>
                <c:pt idx="43">
                  <c:v>120.20724398445807</c:v>
                </c:pt>
                <c:pt idx="44">
                  <c:v>122.15199488093498</c:v>
                </c:pt>
                <c:pt idx="45">
                  <c:v>124.20380932284445</c:v>
                </c:pt>
                <c:pt idx="46">
                  <c:v>126.30574254498498</c:v>
                </c:pt>
                <c:pt idx="47">
                  <c:v>128.44731470578137</c:v>
                </c:pt>
                <c:pt idx="48">
                  <c:v>130.64543992021839</c:v>
                </c:pt>
                <c:pt idx="49">
                  <c:v>132.89863733767012</c:v>
                </c:pt>
                <c:pt idx="50">
                  <c:v>135.21200329765992</c:v>
                </c:pt>
                <c:pt idx="51">
                  <c:v>137.58575989576775</c:v>
                </c:pt>
                <c:pt idx="52">
                  <c:v>140.0080981185759</c:v>
                </c:pt>
                <c:pt idx="53">
                  <c:v>142.47214750143144</c:v>
                </c:pt>
                <c:pt idx="54">
                  <c:v>144.98578195548575</c:v>
                </c:pt>
                <c:pt idx="55">
                  <c:v>147.5531371960133</c:v>
                </c:pt>
                <c:pt idx="56">
                  <c:v>150.17425910787625</c:v>
                </c:pt>
                <c:pt idx="57">
                  <c:v>152.84240901952822</c:v>
                </c:pt>
                <c:pt idx="58">
                  <c:v>155.56053226758277</c:v>
                </c:pt>
                <c:pt idx="59">
                  <c:v>158.33762099144252</c:v>
                </c:pt>
                <c:pt idx="60">
                  <c:v>161.16685352693221</c:v>
                </c:pt>
                <c:pt idx="61">
                  <c:v>164.0438254258498</c:v>
                </c:pt>
                <c:pt idx="62">
                  <c:v>166.97852249709746</c:v>
                </c:pt>
                <c:pt idx="63">
                  <c:v>169.96614133337053</c:v>
                </c:pt>
                <c:pt idx="64">
                  <c:v>173.00758298038113</c:v>
                </c:pt>
                <c:pt idx="65">
                  <c:v>176.10639704735212</c:v>
                </c:pt>
                <c:pt idx="66">
                  <c:v>179.26002684651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81</c:v>
                </c:pt>
                <c:pt idx="1">
                  <c:v>481</c:v>
                </c:pt>
                <c:pt idx="2">
                  <c:v>481</c:v>
                </c:pt>
                <c:pt idx="3">
                  <c:v>481</c:v>
                </c:pt>
                <c:pt idx="4">
                  <c:v>481</c:v>
                </c:pt>
                <c:pt idx="5">
                  <c:v>481</c:v>
                </c:pt>
                <c:pt idx="6">
                  <c:v>481</c:v>
                </c:pt>
                <c:pt idx="7">
                  <c:v>481</c:v>
                </c:pt>
                <c:pt idx="8">
                  <c:v>481</c:v>
                </c:pt>
                <c:pt idx="9">
                  <c:v>481</c:v>
                </c:pt>
                <c:pt idx="10">
                  <c:v>481</c:v>
                </c:pt>
                <c:pt idx="11">
                  <c:v>481</c:v>
                </c:pt>
                <c:pt idx="12">
                  <c:v>481</c:v>
                </c:pt>
                <c:pt idx="13">
                  <c:v>481</c:v>
                </c:pt>
                <c:pt idx="14">
                  <c:v>481</c:v>
                </c:pt>
                <c:pt idx="15">
                  <c:v>481</c:v>
                </c:pt>
                <c:pt idx="16">
                  <c:v>481</c:v>
                </c:pt>
                <c:pt idx="17">
                  <c:v>481</c:v>
                </c:pt>
                <c:pt idx="18">
                  <c:v>481</c:v>
                </c:pt>
                <c:pt idx="19">
                  <c:v>481</c:v>
                </c:pt>
                <c:pt idx="20">
                  <c:v>481</c:v>
                </c:pt>
                <c:pt idx="21">
                  <c:v>481</c:v>
                </c:pt>
                <c:pt idx="22">
                  <c:v>481</c:v>
                </c:pt>
                <c:pt idx="23">
                  <c:v>481</c:v>
                </c:pt>
                <c:pt idx="24">
                  <c:v>481</c:v>
                </c:pt>
                <c:pt idx="25">
                  <c:v>481</c:v>
                </c:pt>
                <c:pt idx="26">
                  <c:v>481</c:v>
                </c:pt>
                <c:pt idx="27">
                  <c:v>481</c:v>
                </c:pt>
                <c:pt idx="28">
                  <c:v>481</c:v>
                </c:pt>
                <c:pt idx="29">
                  <c:v>481</c:v>
                </c:pt>
                <c:pt idx="30">
                  <c:v>481</c:v>
                </c:pt>
                <c:pt idx="31">
                  <c:v>481</c:v>
                </c:pt>
                <c:pt idx="32">
                  <c:v>481</c:v>
                </c:pt>
                <c:pt idx="33">
                  <c:v>481</c:v>
                </c:pt>
                <c:pt idx="34">
                  <c:v>481</c:v>
                </c:pt>
                <c:pt idx="35">
                  <c:v>481</c:v>
                </c:pt>
                <c:pt idx="36">
                  <c:v>481</c:v>
                </c:pt>
                <c:pt idx="37">
                  <c:v>481</c:v>
                </c:pt>
                <c:pt idx="38">
                  <c:v>481</c:v>
                </c:pt>
                <c:pt idx="39">
                  <c:v>481</c:v>
                </c:pt>
                <c:pt idx="40">
                  <c:v>481</c:v>
                </c:pt>
                <c:pt idx="41">
                  <c:v>481</c:v>
                </c:pt>
                <c:pt idx="42">
                  <c:v>481</c:v>
                </c:pt>
                <c:pt idx="43">
                  <c:v>481</c:v>
                </c:pt>
                <c:pt idx="44">
                  <c:v>481</c:v>
                </c:pt>
                <c:pt idx="45">
                  <c:v>481</c:v>
                </c:pt>
                <c:pt idx="46">
                  <c:v>481</c:v>
                </c:pt>
                <c:pt idx="47">
                  <c:v>481</c:v>
                </c:pt>
                <c:pt idx="48">
                  <c:v>481</c:v>
                </c:pt>
                <c:pt idx="49">
                  <c:v>481</c:v>
                </c:pt>
                <c:pt idx="50">
                  <c:v>481</c:v>
                </c:pt>
                <c:pt idx="51">
                  <c:v>481</c:v>
                </c:pt>
                <c:pt idx="52">
                  <c:v>481</c:v>
                </c:pt>
                <c:pt idx="53">
                  <c:v>481</c:v>
                </c:pt>
                <c:pt idx="54">
                  <c:v>481</c:v>
                </c:pt>
                <c:pt idx="55">
                  <c:v>481</c:v>
                </c:pt>
                <c:pt idx="56">
                  <c:v>481</c:v>
                </c:pt>
                <c:pt idx="57">
                  <c:v>481</c:v>
                </c:pt>
                <c:pt idx="58">
                  <c:v>481</c:v>
                </c:pt>
                <c:pt idx="59">
                  <c:v>481</c:v>
                </c:pt>
                <c:pt idx="60">
                  <c:v>481</c:v>
                </c:pt>
                <c:pt idx="61">
                  <c:v>481</c:v>
                </c:pt>
                <c:pt idx="62">
                  <c:v>481</c:v>
                </c:pt>
                <c:pt idx="63">
                  <c:v>481</c:v>
                </c:pt>
                <c:pt idx="64">
                  <c:v>481</c:v>
                </c:pt>
                <c:pt idx="65">
                  <c:v>481</c:v>
                </c:pt>
                <c:pt idx="66">
                  <c:v>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56</c:v>
                </c:pt>
                <c:pt idx="2">
                  <c:v>260</c:v>
                </c:pt>
                <c:pt idx="3">
                  <c:v>261</c:v>
                </c:pt>
                <c:pt idx="4">
                  <c:v>259</c:v>
                </c:pt>
                <c:pt idx="5">
                  <c:v>279</c:v>
                </c:pt>
                <c:pt idx="6">
                  <c:v>250</c:v>
                </c:pt>
                <c:pt idx="7">
                  <c:v>225</c:v>
                </c:pt>
                <c:pt idx="8">
                  <c:v>210</c:v>
                </c:pt>
                <c:pt idx="9">
                  <c:v>187</c:v>
                </c:pt>
                <c:pt idx="10">
                  <c:v>184</c:v>
                </c:pt>
                <c:pt idx="11">
                  <c:v>181</c:v>
                </c:pt>
                <c:pt idx="12">
                  <c:v>154</c:v>
                </c:pt>
                <c:pt idx="13">
                  <c:v>138</c:v>
                </c:pt>
                <c:pt idx="14">
                  <c:v>130</c:v>
                </c:pt>
                <c:pt idx="15">
                  <c:v>125</c:v>
                </c:pt>
                <c:pt idx="16">
                  <c:v>113</c:v>
                </c:pt>
                <c:pt idx="17">
                  <c:v>109</c:v>
                </c:pt>
                <c:pt idx="18">
                  <c:v>112</c:v>
                </c:pt>
                <c:pt idx="19">
                  <c:v>104</c:v>
                </c:pt>
                <c:pt idx="20">
                  <c:v>99</c:v>
                </c:pt>
                <c:pt idx="21">
                  <c:v>94</c:v>
                </c:pt>
                <c:pt idx="22">
                  <c:v>93</c:v>
                </c:pt>
                <c:pt idx="23">
                  <c:v>86</c:v>
                </c:pt>
                <c:pt idx="24">
                  <c:v>91</c:v>
                </c:pt>
                <c:pt idx="25">
                  <c:v>82</c:v>
                </c:pt>
                <c:pt idx="26">
                  <c:v>69</c:v>
                </c:pt>
                <c:pt idx="27">
                  <c:v>58</c:v>
                </c:pt>
                <c:pt idx="28">
                  <c:v>58</c:v>
                </c:pt>
                <c:pt idx="29">
                  <c:v>50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37</c:v>
                </c:pt>
                <c:pt idx="34">
                  <c:v>34</c:v>
                </c:pt>
                <c:pt idx="35">
                  <c:v>31</c:v>
                </c:pt>
                <c:pt idx="36">
                  <c:v>35</c:v>
                </c:pt>
                <c:pt idx="37">
                  <c:v>28</c:v>
                </c:pt>
                <c:pt idx="38">
                  <c:v>32</c:v>
                </c:pt>
                <c:pt idx="39">
                  <c:v>34</c:v>
                </c:pt>
                <c:pt idx="40">
                  <c:v>30</c:v>
                </c:pt>
                <c:pt idx="41">
                  <c:v>24</c:v>
                </c:pt>
                <c:pt idx="42">
                  <c:v>23</c:v>
                </c:pt>
                <c:pt idx="43">
                  <c:v>23</c:v>
                </c:pt>
                <c:pt idx="44">
                  <c:v>18</c:v>
                </c:pt>
                <c:pt idx="45">
                  <c:v>18</c:v>
                </c:pt>
                <c:pt idx="46">
                  <c:v>33</c:v>
                </c:pt>
                <c:pt idx="47">
                  <c:v>15</c:v>
                </c:pt>
                <c:pt idx="48">
                  <c:v>12</c:v>
                </c:pt>
                <c:pt idx="49">
                  <c:v>11</c:v>
                </c:pt>
                <c:pt idx="50">
                  <c:v>11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7</c:v>
                </c:pt>
                <c:pt idx="55">
                  <c:v>7</c:v>
                </c:pt>
                <c:pt idx="56">
                  <c:v>9</c:v>
                </c:pt>
                <c:pt idx="57">
                  <c:v>6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.352951044205682</c:v>
                </c:pt>
                <c:pt idx="27">
                  <c:v>68.514503178416334</c:v>
                </c:pt>
                <c:pt idx="28">
                  <c:v>65.80333259432804</c:v>
                </c:pt>
                <c:pt idx="29">
                  <c:v>63.224829059060212</c:v>
                </c:pt>
                <c:pt idx="30">
                  <c:v>60.820539393651181</c:v>
                </c:pt>
                <c:pt idx="31">
                  <c:v>58.619834609894575</c:v>
                </c:pt>
                <c:pt idx="32">
                  <c:v>56.552607941210702</c:v>
                </c:pt>
                <c:pt idx="33">
                  <c:v>54.517902985956269</c:v>
                </c:pt>
                <c:pt idx="34">
                  <c:v>52.537002995992793</c:v>
                </c:pt>
                <c:pt idx="35">
                  <c:v>50.646950544061241</c:v>
                </c:pt>
                <c:pt idx="36">
                  <c:v>48.844448329202564</c:v>
                </c:pt>
                <c:pt idx="37">
                  <c:v>47.116928019128196</c:v>
                </c:pt>
                <c:pt idx="38">
                  <c:v>45.475465514707629</c:v>
                </c:pt>
                <c:pt idx="39">
                  <c:v>43.856940545378215</c:v>
                </c:pt>
                <c:pt idx="40">
                  <c:v>42.225426057208239</c:v>
                </c:pt>
                <c:pt idx="41">
                  <c:v>40.617874121009905</c:v>
                </c:pt>
                <c:pt idx="42">
                  <c:v>39.055386381384473</c:v>
                </c:pt>
                <c:pt idx="43">
                  <c:v>37.538065418158979</c:v>
                </c:pt>
                <c:pt idx="44">
                  <c:v>36.06461036253684</c:v>
                </c:pt>
                <c:pt idx="45">
                  <c:v>34.639062704475577</c:v>
                </c:pt>
                <c:pt idx="46">
                  <c:v>33.242569091536282</c:v>
                </c:pt>
                <c:pt idx="47">
                  <c:v>31.879818853264929</c:v>
                </c:pt>
                <c:pt idx="48">
                  <c:v>30.561605482163202</c:v>
                </c:pt>
                <c:pt idx="49">
                  <c:v>29.282381844946826</c:v>
                </c:pt>
                <c:pt idx="50">
                  <c:v>28.045600394339655</c:v>
                </c:pt>
                <c:pt idx="51">
                  <c:v>26.855607315661722</c:v>
                </c:pt>
                <c:pt idx="52">
                  <c:v>25.711269634968534</c:v>
                </c:pt>
                <c:pt idx="53">
                  <c:v>24.608680768191217</c:v>
                </c:pt>
                <c:pt idx="54">
                  <c:v>23.55098014566131</c:v>
                </c:pt>
                <c:pt idx="55">
                  <c:v>22.536242896836665</c:v>
                </c:pt>
                <c:pt idx="56">
                  <c:v>21.564573845579847</c:v>
                </c:pt>
                <c:pt idx="57">
                  <c:v>20.632459453089318</c:v>
                </c:pt>
                <c:pt idx="58">
                  <c:v>19.740830484495802</c:v>
                </c:pt>
                <c:pt idx="59">
                  <c:v>18.894076946950477</c:v>
                </c:pt>
                <c:pt idx="60">
                  <c:v>18.086100965361084</c:v>
                </c:pt>
                <c:pt idx="61">
                  <c:v>17.31051113460213</c:v>
                </c:pt>
                <c:pt idx="62">
                  <c:v>16.573328568608602</c:v>
                </c:pt>
                <c:pt idx="63">
                  <c:v>15.870229445976136</c:v>
                </c:pt>
                <c:pt idx="64">
                  <c:v>15.200079289870011</c:v>
                </c:pt>
                <c:pt idx="65">
                  <c:v>14.563183552581449</c:v>
                </c:pt>
                <c:pt idx="66">
                  <c:v>13.956478531084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.465190724212675</c:v>
                </c:pt>
                <c:pt idx="27">
                  <c:v>68.820979942900181</c:v>
                </c:pt>
                <c:pt idx="28">
                  <c:v>66.353929676659021</c:v>
                </c:pt>
                <c:pt idx="29">
                  <c:v>64.048127432722794</c:v>
                </c:pt>
                <c:pt idx="30">
                  <c:v>61.953632898491762</c:v>
                </c:pt>
                <c:pt idx="31">
                  <c:v>60.106848066202318</c:v>
                </c:pt>
                <c:pt idx="32">
                  <c:v>58.441137549248666</c:v>
                </c:pt>
                <c:pt idx="33">
                  <c:v>56.855627372168669</c:v>
                </c:pt>
                <c:pt idx="34">
                  <c:v>55.35057759027994</c:v>
                </c:pt>
                <c:pt idx="35">
                  <c:v>53.951224268800317</c:v>
                </c:pt>
                <c:pt idx="36">
                  <c:v>52.648487067249498</c:v>
                </c:pt>
                <c:pt idx="37">
                  <c:v>51.431118276868304</c:v>
                </c:pt>
                <c:pt idx="38">
                  <c:v>50.30689982569092</c:v>
                </c:pt>
                <c:pt idx="39">
                  <c:v>49.206549070617299</c:v>
                </c:pt>
                <c:pt idx="40">
                  <c:v>48.084738911380413</c:v>
                </c:pt>
                <c:pt idx="41">
                  <c:v>46.969826676629424</c:v>
                </c:pt>
                <c:pt idx="42">
                  <c:v>45.881542459089538</c:v>
                </c:pt>
                <c:pt idx="43">
                  <c:v>44.819250264596093</c:v>
                </c:pt>
                <c:pt idx="44">
                  <c:v>43.779823587272411</c:v>
                </c:pt>
                <c:pt idx="45">
                  <c:v>42.764818307041139</c:v>
                </c:pt>
                <c:pt idx="46">
                  <c:v>41.754572263696765</c:v>
                </c:pt>
                <c:pt idx="47">
                  <c:v>40.751662173584648</c:v>
                </c:pt>
                <c:pt idx="48">
                  <c:v>39.764181530290927</c:v>
                </c:pt>
                <c:pt idx="49">
                  <c:v>38.789114194240405</c:v>
                </c:pt>
                <c:pt idx="50">
                  <c:v>37.829237928418223</c:v>
                </c:pt>
                <c:pt idx="51">
                  <c:v>36.889964932702107</c:v>
                </c:pt>
                <c:pt idx="52">
                  <c:v>35.970437012976305</c:v>
                </c:pt>
                <c:pt idx="53">
                  <c:v>35.067098079493704</c:v>
                </c:pt>
                <c:pt idx="54">
                  <c:v>34.183610496931109</c:v>
                </c:pt>
                <c:pt idx="55">
                  <c:v>33.319522143467452</c:v>
                </c:pt>
                <c:pt idx="56">
                  <c:v>32.475893774514539</c:v>
                </c:pt>
                <c:pt idx="57">
                  <c:v>31.650667489181942</c:v>
                </c:pt>
                <c:pt idx="58">
                  <c:v>30.845400931039244</c:v>
                </c:pt>
                <c:pt idx="59">
                  <c:v>30.065860177450457</c:v>
                </c:pt>
                <c:pt idx="60">
                  <c:v>29.306640771112871</c:v>
                </c:pt>
                <c:pt idx="61">
                  <c:v>28.563460092744343</c:v>
                </c:pt>
                <c:pt idx="62">
                  <c:v>27.842135833021526</c:v>
                </c:pt>
                <c:pt idx="63">
                  <c:v>27.140244609675811</c:v>
                </c:pt>
                <c:pt idx="64">
                  <c:v>26.457200952552622</c:v>
                </c:pt>
                <c:pt idx="65">
                  <c:v>25.794396608920362</c:v>
                </c:pt>
                <c:pt idx="66">
                  <c:v>25.149036936028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.576580103613537</c:v>
                </c:pt>
                <c:pt idx="27">
                  <c:v>69.12644901465039</c:v>
                </c:pt>
                <c:pt idx="28">
                  <c:v>66.903478238403693</c:v>
                </c:pt>
                <c:pt idx="29">
                  <c:v>64.870351926983886</c:v>
                </c:pt>
                <c:pt idx="30">
                  <c:v>63.090734438563935</c:v>
                </c:pt>
                <c:pt idx="31">
                  <c:v>61.612405673806094</c:v>
                </c:pt>
                <c:pt idx="32">
                  <c:v>60.375624226098878</c:v>
                </c:pt>
                <c:pt idx="33">
                  <c:v>59.280401528832421</c:v>
                </c:pt>
                <c:pt idx="34">
                  <c:v>58.303774786250742</c:v>
                </c:pt>
                <c:pt idx="35">
                  <c:v>57.458068899151684</c:v>
                </c:pt>
                <c:pt idx="36">
                  <c:v>56.733408082091479</c:v>
                </c:pt>
                <c:pt idx="37">
                  <c:v>56.124103647102025</c:v>
                </c:pt>
                <c:pt idx="38">
                  <c:v>55.633488327118393</c:v>
                </c:pt>
                <c:pt idx="39">
                  <c:v>55.184729536262012</c:v>
                </c:pt>
                <c:pt idx="40">
                  <c:v>54.724933502284188</c:v>
                </c:pt>
                <c:pt idx="41">
                  <c:v>54.272787157471456</c:v>
                </c:pt>
                <c:pt idx="42">
                  <c:v>53.844199180082668</c:v>
                </c:pt>
                <c:pt idx="43">
                  <c:v>53.440129423819421</c:v>
                </c:pt>
                <c:pt idx="44">
                  <c:v>53.057760440743749</c:v>
                </c:pt>
                <c:pt idx="45">
                  <c:v>52.693891679997364</c:v>
                </c:pt>
                <c:pt idx="46">
                  <c:v>52.322476875992422</c:v>
                </c:pt>
                <c:pt idx="47">
                  <c:v>51.94375368644971</c:v>
                </c:pt>
                <c:pt idx="48">
                  <c:v>51.566392999031336</c:v>
                </c:pt>
                <c:pt idx="49">
                  <c:v>51.18546470691355</c:v>
                </c:pt>
                <c:pt idx="50">
                  <c:v>50.804902925783431</c:v>
                </c:pt>
                <c:pt idx="51">
                  <c:v>50.427999592353913</c:v>
                </c:pt>
                <c:pt idx="52">
                  <c:v>50.053461176940544</c:v>
                </c:pt>
                <c:pt idx="53">
                  <c:v>49.676372114549288</c:v>
                </c:pt>
                <c:pt idx="54">
                  <c:v>49.30001475959341</c:v>
                </c:pt>
                <c:pt idx="55">
                  <c:v>48.926271580846162</c:v>
                </c:pt>
                <c:pt idx="56">
                  <c:v>48.555047774489779</c:v>
                </c:pt>
                <c:pt idx="57">
                  <c:v>48.184035028262912</c:v>
                </c:pt>
                <c:pt idx="58">
                  <c:v>47.816225790008559</c:v>
                </c:pt>
                <c:pt idx="59">
                  <c:v>47.454996962099742</c:v>
                </c:pt>
                <c:pt idx="60">
                  <c:v>47.097175301256712</c:v>
                </c:pt>
                <c:pt idx="61">
                  <c:v>46.738098731563674</c:v>
                </c:pt>
                <c:pt idx="62">
                  <c:v>46.384301798156663</c:v>
                </c:pt>
                <c:pt idx="63">
                  <c:v>46.033410402594413</c:v>
                </c:pt>
                <c:pt idx="64">
                  <c:v>45.684874990345932</c:v>
                </c:pt>
                <c:pt idx="65">
                  <c:v>45.341755056310532</c:v>
                </c:pt>
                <c:pt idx="66">
                  <c:v>45.0006600971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.744089323017903</c:v>
                </c:pt>
                <c:pt idx="27">
                  <c:v>69.586006769248627</c:v>
                </c:pt>
                <c:pt idx="28">
                  <c:v>67.729758184350516</c:v>
                </c:pt>
                <c:pt idx="29">
                  <c:v>66.105777975029355</c:v>
                </c:pt>
                <c:pt idx="30">
                  <c:v>64.81001083075185</c:v>
                </c:pt>
                <c:pt idx="31">
                  <c:v>63.914164822321709</c:v>
                </c:pt>
                <c:pt idx="32">
                  <c:v>63.372812293180687</c:v>
                </c:pt>
                <c:pt idx="33">
                  <c:v>63.090877245426476</c:v>
                </c:pt>
                <c:pt idx="34">
                  <c:v>63.006870667832537</c:v>
                </c:pt>
                <c:pt idx="35">
                  <c:v>63.117187866431848</c:v>
                </c:pt>
                <c:pt idx="36">
                  <c:v>63.415411817708886</c:v>
                </c:pt>
                <c:pt idx="37">
                  <c:v>63.913467629601676</c:v>
                </c:pt>
                <c:pt idx="38">
                  <c:v>64.613960616724171</c:v>
                </c:pt>
                <c:pt idx="39">
                  <c:v>65.428000656457669</c:v>
                </c:pt>
                <c:pt idx="40">
                  <c:v>66.286641402667712</c:v>
                </c:pt>
                <c:pt idx="41">
                  <c:v>67.196969640150883</c:v>
                </c:pt>
                <c:pt idx="42">
                  <c:v>68.17711731335217</c:v>
                </c:pt>
                <c:pt idx="43">
                  <c:v>69.233611090078583</c:v>
                </c:pt>
                <c:pt idx="44">
                  <c:v>70.363603721949914</c:v>
                </c:pt>
                <c:pt idx="45">
                  <c:v>71.554765370766802</c:v>
                </c:pt>
                <c:pt idx="46">
                  <c:v>72.773699855755609</c:v>
                </c:pt>
                <c:pt idx="47">
                  <c:v>74.015538947536584</c:v>
                </c:pt>
                <c:pt idx="48">
                  <c:v>75.290167480233521</c:v>
                </c:pt>
                <c:pt idx="49">
                  <c:v>76.59671560349318</c:v>
                </c:pt>
                <c:pt idx="50">
                  <c:v>77.937707932896018</c:v>
                </c:pt>
                <c:pt idx="51">
                  <c:v>79.313211590118442</c:v>
                </c:pt>
                <c:pt idx="52">
                  <c:v>80.717031108964903</c:v>
                </c:pt>
                <c:pt idx="53">
                  <c:v>82.144004608945849</c:v>
                </c:pt>
                <c:pt idx="54">
                  <c:v>83.599442100827744</c:v>
                </c:pt>
                <c:pt idx="55">
                  <c:v>85.086114267492633</c:v>
                </c:pt>
                <c:pt idx="56">
                  <c:v>86.603913271154966</c:v>
                </c:pt>
                <c:pt idx="57">
                  <c:v>88.149034774373433</c:v>
                </c:pt>
                <c:pt idx="58">
                  <c:v>89.722552275519249</c:v>
                </c:pt>
                <c:pt idx="59">
                  <c:v>91.330405569637662</c:v>
                </c:pt>
                <c:pt idx="60">
                  <c:v>92.968958014646077</c:v>
                </c:pt>
                <c:pt idx="61">
                  <c:v>94.634102658355971</c:v>
                </c:pt>
                <c:pt idx="62">
                  <c:v>96.332975436776053</c:v>
                </c:pt>
                <c:pt idx="63">
                  <c:v>98.062862395828461</c:v>
                </c:pt>
                <c:pt idx="64">
                  <c:v>99.823601494600652</c:v>
                </c:pt>
                <c:pt idx="65">
                  <c:v>101.61803755957797</c:v>
                </c:pt>
                <c:pt idx="66">
                  <c:v>103.4442038662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3</c:v>
                </c:pt>
                <c:pt idx="1">
                  <c:v>623</c:v>
                </c:pt>
                <c:pt idx="2">
                  <c:v>623</c:v>
                </c:pt>
                <c:pt idx="3">
                  <c:v>623</c:v>
                </c:pt>
                <c:pt idx="4">
                  <c:v>623</c:v>
                </c:pt>
                <c:pt idx="5">
                  <c:v>623</c:v>
                </c:pt>
                <c:pt idx="6">
                  <c:v>623</c:v>
                </c:pt>
                <c:pt idx="7">
                  <c:v>623</c:v>
                </c:pt>
                <c:pt idx="8">
                  <c:v>623</c:v>
                </c:pt>
                <c:pt idx="9">
                  <c:v>623</c:v>
                </c:pt>
                <c:pt idx="10">
                  <c:v>623</c:v>
                </c:pt>
                <c:pt idx="11">
                  <c:v>623</c:v>
                </c:pt>
                <c:pt idx="12">
                  <c:v>623</c:v>
                </c:pt>
                <c:pt idx="13">
                  <c:v>623</c:v>
                </c:pt>
                <c:pt idx="14">
                  <c:v>623</c:v>
                </c:pt>
                <c:pt idx="15">
                  <c:v>623</c:v>
                </c:pt>
                <c:pt idx="16">
                  <c:v>623</c:v>
                </c:pt>
                <c:pt idx="17">
                  <c:v>623</c:v>
                </c:pt>
                <c:pt idx="18">
                  <c:v>623</c:v>
                </c:pt>
                <c:pt idx="19">
                  <c:v>623</c:v>
                </c:pt>
                <c:pt idx="20">
                  <c:v>623</c:v>
                </c:pt>
                <c:pt idx="21">
                  <c:v>623</c:v>
                </c:pt>
                <c:pt idx="22">
                  <c:v>623</c:v>
                </c:pt>
                <c:pt idx="23">
                  <c:v>623</c:v>
                </c:pt>
                <c:pt idx="24">
                  <c:v>623</c:v>
                </c:pt>
                <c:pt idx="25">
                  <c:v>623</c:v>
                </c:pt>
                <c:pt idx="26">
                  <c:v>623</c:v>
                </c:pt>
                <c:pt idx="27">
                  <c:v>623</c:v>
                </c:pt>
                <c:pt idx="28">
                  <c:v>623</c:v>
                </c:pt>
                <c:pt idx="29">
                  <c:v>623</c:v>
                </c:pt>
                <c:pt idx="30">
                  <c:v>623</c:v>
                </c:pt>
                <c:pt idx="31">
                  <c:v>623</c:v>
                </c:pt>
                <c:pt idx="32">
                  <c:v>623</c:v>
                </c:pt>
                <c:pt idx="33">
                  <c:v>623</c:v>
                </c:pt>
                <c:pt idx="34">
                  <c:v>623</c:v>
                </c:pt>
                <c:pt idx="35">
                  <c:v>623</c:v>
                </c:pt>
                <c:pt idx="36">
                  <c:v>623</c:v>
                </c:pt>
                <c:pt idx="37">
                  <c:v>623</c:v>
                </c:pt>
                <c:pt idx="38">
                  <c:v>623</c:v>
                </c:pt>
                <c:pt idx="39">
                  <c:v>623</c:v>
                </c:pt>
                <c:pt idx="40">
                  <c:v>623</c:v>
                </c:pt>
                <c:pt idx="41">
                  <c:v>623</c:v>
                </c:pt>
                <c:pt idx="42">
                  <c:v>623</c:v>
                </c:pt>
                <c:pt idx="43">
                  <c:v>623</c:v>
                </c:pt>
                <c:pt idx="44">
                  <c:v>623</c:v>
                </c:pt>
                <c:pt idx="45">
                  <c:v>623</c:v>
                </c:pt>
                <c:pt idx="46">
                  <c:v>623</c:v>
                </c:pt>
                <c:pt idx="47">
                  <c:v>623</c:v>
                </c:pt>
                <c:pt idx="48">
                  <c:v>623</c:v>
                </c:pt>
                <c:pt idx="49">
                  <c:v>623</c:v>
                </c:pt>
                <c:pt idx="50">
                  <c:v>623</c:v>
                </c:pt>
                <c:pt idx="51">
                  <c:v>623</c:v>
                </c:pt>
                <c:pt idx="52">
                  <c:v>623</c:v>
                </c:pt>
                <c:pt idx="53">
                  <c:v>623</c:v>
                </c:pt>
                <c:pt idx="54">
                  <c:v>623</c:v>
                </c:pt>
                <c:pt idx="55">
                  <c:v>623</c:v>
                </c:pt>
                <c:pt idx="56">
                  <c:v>623</c:v>
                </c:pt>
                <c:pt idx="57">
                  <c:v>623</c:v>
                </c:pt>
                <c:pt idx="58">
                  <c:v>623</c:v>
                </c:pt>
                <c:pt idx="59">
                  <c:v>623</c:v>
                </c:pt>
                <c:pt idx="60">
                  <c:v>623</c:v>
                </c:pt>
                <c:pt idx="61">
                  <c:v>623</c:v>
                </c:pt>
                <c:pt idx="62">
                  <c:v>623</c:v>
                </c:pt>
                <c:pt idx="63">
                  <c:v>623</c:v>
                </c:pt>
                <c:pt idx="64">
                  <c:v>623</c:v>
                </c:pt>
                <c:pt idx="65">
                  <c:v>623</c:v>
                </c:pt>
                <c:pt idx="66">
                  <c:v>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33649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14389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20566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4991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3997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94274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80718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05732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83231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2312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9452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66231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79358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15434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39250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93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12843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077760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7734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44806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525004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0353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462481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5938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8791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84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22040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6133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0576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233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12629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222075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AAB2975B-11F7-4A4A-8A66-FA8C6A0257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954473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B1C83CE-DA16-4123-9921-412F48EA12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249156E-7368-47A8-A881-95136294B7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075F3F7-812A-4F2D-BE72-796CA52208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A1D3E24-A13B-4D1F-8AD4-48137EA2C5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0B1D5ED-70C8-40B5-93FB-913152ADDB0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8224083B-A0C3-4372-ADC1-CA17BF02BB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2965F90-6C84-4C34-B67E-7C4DE25E0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2857E5B4-B0F7-43A1-9A8A-D50C30DEDE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92326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171747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F62E0762-9017-4309-91BF-06A63B2630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668844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2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10C0B1B-414D-4D1B-9AF1-7690C6498A5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88B65171-E930-4557-B8C1-9CB2A315A9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A0FBC56-AD24-4F15-8185-649CAE8EAC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881D462-5642-4D3E-BAB7-6B390CD9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B5B29CF-1921-44C4-AEB6-05FA555AC71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0FFAC40-A735-4DDB-AF68-B52391099C6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7B7D849-CAA9-45B4-968C-2B1437F1A5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2B36E-D6FF-46FC-99CE-741008C9FE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19070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23120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D41224DC-D4B9-449A-9607-C63915B441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018496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2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9A7D1C2-B193-45B2-AB97-2DAB2E26741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9748B78-4EB9-44D4-80E6-D349FB382D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11F956C-CBE0-47BE-BD84-89AC817866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342ECBF-A32B-4F3F-BFCA-38233021085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C2EF438-E2FF-4A3C-A4AE-9392B0C52B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760DEBF-2751-43C5-B24C-C68928CE42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C97B324-75F7-4BE7-8278-4C586F9C6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8D3ADFA-DBC6-4422-8697-68EED5A020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90506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00993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095168A7-A123-4B18-9524-5374CFD22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081371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8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20BF65F-FFC4-409C-8121-D3AFEF0D6DA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B81BE2E-0D96-4F17-A6DD-F611191779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C56ABA-3005-4FF1-910B-9E7AB7A39D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54AA1CD9-6E8F-41A7-B419-710428C9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4B2A975-708E-4A54-9D9D-DB8B9B3A00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1A7BD14-6401-46FA-9599-937ACF15B4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64D6A5-44C4-436A-8DF0-8AE0CD892B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ACA393E-AA33-4AB7-8B70-888969FA8D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7269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11726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F08F3293-D0C7-453B-AF9C-38E2432242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611569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1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87C078B-1A9E-43F3-9042-5B2B3BDB336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F9B9090-96A8-4746-90F7-6F7BC6317D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49C9C8-D04F-458B-92C5-45AD919572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9B905F4-8A76-4ECA-BE21-5C60F10B5C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D7A2E8D-3C0E-4BE5-9DA9-5B6868AE98E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238EC515-E37E-4C2E-A1B9-9B6CDA0857B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AA6C1F0-0104-4B63-A6ED-3012228F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A0942D0-9FBA-4E09-975F-9022B02D43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22141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48034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08B11896-3836-4A6C-A539-E6A3F5E269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27722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1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1FC0936-DB52-4429-85F1-B8CDA894590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7B48733-D84F-48E8-912A-A500E93A8C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5B81E979-7853-40D7-B363-5B1939AE7D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C5A8107-5B6C-43E9-AF24-7193F5FF16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41F9E13-D942-4F8A-B05B-308F6E3B766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0" name="TextovéPole 28">
              <a:extLst>
                <a:ext uri="{FF2B5EF4-FFF2-40B4-BE49-F238E27FC236}">
                  <a16:creationId xmlns:a16="http://schemas.microsoft.com/office/drawing/2014/main" id="{3D2872EB-B837-46B4-ADB5-8A0654CF16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4BD7692-0DEE-45AC-9D76-37404D60CB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F44597B-5576-4183-8191-A001BB5B09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6376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131503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9F2425BB-7572-4772-A348-AB597A9140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90759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6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59F844-5B8D-44F0-98D9-71D980A2C7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EEA2E5A-9BEF-4D16-B273-B58AAF1F91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BD7A6C-C6EA-426A-838E-D093A2FC99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39C81DA-3B76-4251-935C-0AC6E45FBE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336EAC2-F0A6-40D4-9918-1F9B9AE8D7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964A91A-079F-4B30-A74C-2D08DA73C6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682DE36-90D6-476D-B5D2-5A75101FDC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A10ADD-3F81-48CF-8C65-853D6BD222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303524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5335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165057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08BD4F7-B982-45CA-9F0F-43B16F6463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8173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006998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10044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0E2F88A0-757C-40C2-804C-969C3D7C27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44079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2408D31-554A-415D-BCA4-AC165231C57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BECE22-78D3-4C6C-8323-E37CAA8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A459BE5-9D4C-46D1-8012-7017AA7510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F64E76C3-42A7-4DBA-AE75-A7A5CC7D3C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9F96CDB6-E409-4D92-A8AD-CDF6F6F4A5C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855829A-993C-4EC5-AB4B-164F22A0F9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1E55D95-CE45-4255-A182-140D867AFB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8991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40598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6E2843B7-4ED2-4098-93CE-2B89E5D08B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833479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52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54914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75135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9BE0DF9C-E89B-4189-891B-0525D1656B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505474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0894182-4B16-4B59-A9BF-2AB36C3792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B13AED0-BA39-4D40-BBA7-FF03D8235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F07CF5-5797-4B42-A4C3-740D327F65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3CC4F40-C5FE-4B93-BEC1-1359D5579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71E8476-ACDF-42F2-A9A8-2C81C5E250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30898F71-44E0-4D37-B67B-F4CC23E506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30D279E-9808-4A3B-8D85-015CBDFF2C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95627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69884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9288AFF-BE19-4D74-8FBF-612250C64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13944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7202FC2-0356-4B9C-A72E-9ECFEC16944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C980249-0B66-481B-B51B-03BD9508F2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CD235C-EE08-4FF3-A174-19730DE86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B425321-A926-4A3E-A40A-B6CD1EC662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AF593D3-B4C8-4787-BFEA-837B421FD4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F6AF525-071E-4E11-9068-4BA28BDBEA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6D9291D-F739-4D17-A655-FBF090CD8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546547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27250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9A67F5D-37A8-4C0D-819D-D6C02CACF0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05231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85C2874-71BB-41BB-BA0B-B536D7402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5EA020C-31AB-4FAC-91A3-71A4CCABD7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97D2AC9E-25EC-4C87-9420-1E9A1EB56B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9B645AE-4D87-48BA-9B93-972BCE740E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0665E3-B8D6-4E37-B531-80DFE6E2855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FA3B3C5-1394-47C8-914A-5BE763E191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0D46ED5-39AC-4144-9611-645B21B9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56521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63932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988A74B-98B3-434F-9C14-B32F676DC5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06559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72D91E-C035-4EEF-994A-A856522F99F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8B96B4-0052-45DF-8E7F-FFD69E5A5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204E652-3974-49D4-9EE4-4FE225511A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070E1B46-7628-4FEB-85AC-933A54061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EFF5605-E40C-4678-94C5-4A5766BB11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52FECDA6-BEF1-44FD-99FA-88E62AB633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D7779F-9002-4776-B0FE-039DA0ED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73544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016846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4562EE0-6EA1-48C4-9D11-2904CDD409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81896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63A73E8-090A-4A7F-B013-F03BE8C42D2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6399334-EFA4-4D1B-898B-80A7F1FF70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9149621D-6C6C-4BDD-A76A-EE7267F3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D9960F5-4630-4489-A3EA-7E63CC9039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F97AB94-D381-487A-8F1F-52D2E90455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044ADC2-1796-4059-81F5-5408837426B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9C332A6-FB38-427D-953D-8C91399058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53417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883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649C4D3-336D-4B48-BCA6-C1DC8FA638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31619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994BB4-AB5C-40D9-83B1-BB3E6C87AA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ADF2BA-7B54-4FB5-8228-5BF8B9EDD4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555C7B3-7F7A-4E8B-928D-D7DE7E7A11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1DC02DB-DAB6-4A28-9AAC-74BBEC4D24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B2550C-0AF5-45F3-93A0-02E7312913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E752243-2173-4BDF-A7F6-8B9C49EF50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883D0BF-9DF4-4B5E-A2E7-F46F86B362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88136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4401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2D94EEAD-FF90-4F98-BBC1-498543CE4F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51930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F4A9367-DEAE-4688-BA6D-08E06C2704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680D270-83C8-443E-A259-094102D41FA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5ADC2285-EA7A-4214-A0ED-280271D974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4918EEF-20F9-4FD5-89B7-EB442C80AB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0CC05-0608-467D-99E5-BAC44556D0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8980C63-5744-43EC-BC66-3E6FF8FF05F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C35FAC6-CC1A-4627-B010-9C4B25A493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215527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95308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5EE1981B-36C0-45A3-886D-4ACC06574C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04199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B904184-7823-48A5-A464-93554E6985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005F527-0A83-4EB7-AF70-1594A6AC24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11DDF8F-D694-4CA7-9D2E-C7EA60EA54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48C6620-7701-4A99-8CBE-774B053270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6B541-26C3-4737-877B-A3819A3FF4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DFD98C1-AF7E-4341-B365-DE8D030076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C4A53A-5056-4534-9884-C39C54E8AC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50737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2577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4F00B18D-8570-41D9-8407-3A24C1969D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21774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30F2DF8-18AF-49BC-AC74-A8FC76346E4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35C3272-85D2-4EC2-89EB-733F55977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4E0FDD1-31AD-40BA-8E67-BCD0D5C36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DC41CF-5E71-43FC-9D3D-A58DBA0DF6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0708D638-27B0-432E-8A59-EF337D187D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36B61FB-850F-4C7E-A896-382761FA4A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07714B-FE9A-4876-98A9-7F690EE5C9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49729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33461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9D8CE5A-3947-4999-ACA6-003715E9E0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11885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0129F32-1660-429E-9A71-8A3090A059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2BEE53-D12A-4993-8599-588A3096B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FFE8E3A-6CAC-4A6E-835B-21CBD9245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BF4AB1-C458-4A48-9866-76DD17E726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355FEC5-719F-4F6F-8FC0-A36439B36E1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8916203-CBC7-4DCE-9538-423D95599B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615E9D2-E52A-44A9-99D8-0B9C59E8D1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90566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86377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B864B134-0651-4415-864C-6022AFC4BA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453756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E07B234-F56C-4597-87F9-2092D5C07B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F0A3807-926A-4DBA-982E-5AA026708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467421-6F54-4004-B50D-E70DF47DED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304C248-DB10-467C-9CEB-9D8189CEF0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5F6A4F45-C9A6-47FD-B841-AA08233793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D0D00BB-EBC2-49A9-9D20-2C897F27F4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58997C4-1D41-4E12-B91E-B55502E40B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71DD9DD-946D-47B0-A287-0E92914C20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327397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447942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2F80A5B-3345-417F-A5A9-15D5E7F91C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55557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3B434E5-CB0B-4385-B728-42DB6B1FE07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1F98D-D0F9-4F06-80E4-4A98280EA3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7E08B26-F27B-43CB-B292-18F58D47DB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ED84CC3-3556-4304-A01F-38DED7C0AD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27FD67D-4273-47EB-9480-E8B41E7AF4B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B4543A8-667B-42D9-AA7A-755F7E37095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EACF2BA-A36B-46AD-9D2D-27616AB3B6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49543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19289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9C965903-6448-4DB4-93F4-642EAB15F0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8600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B4BA85F-4BCB-440D-AFCD-32556394872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1078D7A-68FE-4A86-B42F-46B10CD17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308F12A-8EAC-4C23-A48C-E8B76A3EE3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6EF961-C35F-4B60-929B-BDBCCA155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84E6DB3-BA98-42A6-BD89-2CE41F7BC3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AE509EB-D056-49D2-9E7A-809B5A10CD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9347D1B-1F2B-4D97-869B-32DA85A3FB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352885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887666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2FF1EE0A-20CD-409C-B344-7666768167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8397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0450588-49A5-4DCF-81DA-3517AA3025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A5E09B1-1FA8-4B72-B228-91A78737DA3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AE00063-5509-493A-A99C-9A5777C0D6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7A30714F-B86F-454A-9EA2-EA13C279E9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5AFE47CC-A404-48C1-B926-220D231528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395608-2C65-4D8D-AACD-1927176273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B2763B4-BCAA-45E5-97E5-A632D87954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0704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2390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ACB00E47-4841-447B-897D-41E92FBE31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502785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7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FCDEFEF-BCA4-4439-B8F5-396EF6EDB1C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40B1E9-5910-45C6-988C-99C9996885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B041D08-3C42-4D4E-9C40-C8584A844F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BF88954C-71EA-44B3-A6BA-41817F50E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1BABFA9-F90F-4796-9BDE-8EC55A542EB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91EB62-A8A2-4B8F-93FE-005435C57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F68A16E-6187-4BEB-8194-44E472960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6FE545-B734-44C3-A526-3CEB3B59F6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9135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221446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22816461-8E7E-428A-B98F-D210623735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634466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9EFC851-1892-46D9-AFB8-42BDB6DDD0E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2547927F-69C1-4CAD-920E-217F66DF9B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563A17-A3A0-44AF-9B9D-8E327C9524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FFE9BCC-ECED-49C7-8E7C-B1F5489C2A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54ECED6-5522-4291-AF2F-3668A6F0A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4D73721-2619-4159-B8AE-DB8E22E29E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C5E5961-061C-4E52-9CA9-A19557B1FD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FE9B119-4165-44C1-A917-A447A34AB5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76848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843742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744C6DC4-0520-418B-80FF-04596C86D8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998355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5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9E72C4-9710-4C9F-BA9F-1726BC85154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8149D05-D566-466A-A738-73B66FE171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9CF783-E5B6-45EF-9FB2-BD4CC15EA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5C456E6-AE90-4789-9C3B-E518C1E29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1F50ECE-E6E6-4228-9F6F-E119680D2D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8A1A4DC-00BB-4929-91D1-6047992C69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B8E1381-0BA0-4301-BD89-6C4B3B32B14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D2B8D86-61C4-451A-ADB5-43FEFFCA9D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61010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04113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D247B5CC-C2FE-490F-86B5-DF9224015B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1924050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1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BFB6FD-4FEF-4C4E-9C8A-488CCA1A655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CC2A22B-6E1C-43D0-A0A9-743B496BE0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BF5E867-2862-479B-B922-0C5C3EE489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A2BBC4E-44B2-46F1-B296-C2272A7985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2F177D7-D061-42FD-8798-DE488DDDBB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168F5321-115A-4834-9465-815813EF0A1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DFCC5FD-C520-4124-AD45-6B8483B50A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371BEC9-CD8D-43C5-A5CF-5A7ADB3710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186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17498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Tabulka 2">
            <a:extLst>
              <a:ext uri="{FF2B5EF4-FFF2-40B4-BE49-F238E27FC236}">
                <a16:creationId xmlns:a16="http://schemas.microsoft.com/office/drawing/2014/main" id="{5C00098A-5207-49A8-A81B-3886505030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18199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4D9B82-DC28-45B4-B7BC-A27D2EABB25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4569F5E-2370-4036-AF7A-906826E550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3D3F36B-305B-4154-B0B4-EFF2FCED59C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4D2009D-3D33-451B-83AF-6E568C366D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4B5174A-9126-48A9-B1A8-A4AA0D4468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D753507-2E30-4B24-A9C7-C7639FAA28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48EC386-EA34-4B48-8A53-D512DBB62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4CC3B83-4353-4251-A55C-AF2A0BA213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0144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037232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1158FB8D-C812-47F0-9372-ED598E2DB1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351534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9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C86EB69-BD6F-4D96-AF8E-755C924D2A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4DC8DB-FBFE-4211-9D3E-03294E0FCD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69AB731-547D-4D24-9572-A13AAA1510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CC1780F-225C-46E9-9878-3D4CF79C2F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7D38412-B405-44FC-AC18-F5392B10FC0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09C415D4-E464-4B2C-9505-8EDEBAA22E9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88DC1F0-D848-4F31-8F47-6138A7A4FB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C1FB7FF2-9020-4E19-8D1F-2DAABEB003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9032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0</TotalTime>
  <Words>2065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rejčí Denisa RNDr.</cp:lastModifiedBy>
  <cp:revision>120</cp:revision>
  <dcterms:created xsi:type="dcterms:W3CDTF">2021-03-07T17:05:03Z</dcterms:created>
  <dcterms:modified xsi:type="dcterms:W3CDTF">2021-05-29T17:47:12Z</dcterms:modified>
</cp:coreProperties>
</file>